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2"/>
  </p:notesMasterIdLst>
  <p:handoutMasterIdLst>
    <p:handoutMasterId r:id="rId13"/>
  </p:handoutMasterIdLst>
  <p:sldIdLst>
    <p:sldId id="2146846087" r:id="rId5"/>
    <p:sldId id="2146846137" r:id="rId6"/>
    <p:sldId id="2146846139" r:id="rId7"/>
    <p:sldId id="2146846140" r:id="rId8"/>
    <p:sldId id="2080108152" r:id="rId9"/>
    <p:sldId id="2080108154" r:id="rId10"/>
    <p:sldId id="2146846138" r:id="rId11"/>
  </p:sldIdLst>
  <p:sldSz cx="12192000" cy="6858000"/>
  <p:notesSz cx="6858000" cy="9144000"/>
  <p:custDataLst>
    <p:tags r:id="rId14"/>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09B5937-3ED7-4E05-B3E6-6DB33CDBE7C1}">
          <p14:sldIdLst>
            <p14:sldId id="2146846087"/>
            <p14:sldId id="2146846137"/>
            <p14:sldId id="2146846139"/>
            <p14:sldId id="2146846140"/>
            <p14:sldId id="2080108152"/>
            <p14:sldId id="2080108154"/>
            <p14:sldId id="21468461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e Abreu" initials="CA" lastIdx="3" clrIdx="0">
    <p:extLst>
      <p:ext uri="{19B8F6BF-5375-455C-9EA6-DF929625EA0E}">
        <p15:presenceInfo xmlns:p15="http://schemas.microsoft.com/office/powerpoint/2012/main" userId="S::Caroline.Abreu@br.ey.com::bfd3b66c-b3b5-49dc-8f1e-f44487b1dddd" providerId="AD"/>
      </p:ext>
    </p:extLst>
  </p:cmAuthor>
  <p:cmAuthor id="2" name="Katerine Schifino" initials="KS" lastIdx="2" clrIdx="1">
    <p:extLst>
      <p:ext uri="{19B8F6BF-5375-455C-9EA6-DF929625EA0E}">
        <p15:presenceInfo xmlns:p15="http://schemas.microsoft.com/office/powerpoint/2012/main" userId="S::Katerine.Schifino@co.ey.com::37bb67de-9fcf-4611-888c-7e5b58184a2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3A55"/>
    <a:srgbClr val="D4BFF8"/>
    <a:srgbClr val="366E7A"/>
    <a:srgbClr val="3A8997"/>
    <a:srgbClr val="64C2C8"/>
    <a:srgbClr val="FBBE5B"/>
    <a:srgbClr val="F39149"/>
    <a:srgbClr val="DC5149"/>
    <a:srgbClr val="54959D"/>
    <a:srgbClr val="BD93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9F38EF-DBD2-4D8E-B228-1D80936F850C}" v="17" dt="2022-05-03T23:02:55.814"/>
    <p1510:client id="{CC940CF9-219C-43FB-BAEA-46B0D67ACBA6}" v="1" dt="2022-05-03T23:17:38.8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94796" autoAdjust="0"/>
  </p:normalViewPr>
  <p:slideViewPr>
    <p:cSldViewPr snapToGrid="0">
      <p:cViewPr varScale="1">
        <p:scale>
          <a:sx n="75" d="100"/>
          <a:sy n="75" d="100"/>
        </p:scale>
        <p:origin x="196" y="56"/>
      </p:cViewPr>
      <p:guideLst/>
    </p:cSldViewPr>
  </p:slideViewPr>
  <p:notesTextViewPr>
    <p:cViewPr>
      <p:scale>
        <a:sx n="66" d="100"/>
        <a:sy n="66"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rine Schifino" userId="37bb67de-9fcf-4611-888c-7e5b58184a2a" providerId="ADAL" clId="{CC940CF9-219C-43FB-BAEA-46B0D67ACBA6}"/>
    <pc:docChg chg="delSld modSld modSection">
      <pc:chgData name="Katerine Schifino" userId="37bb67de-9fcf-4611-888c-7e5b58184a2a" providerId="ADAL" clId="{CC940CF9-219C-43FB-BAEA-46B0D67ACBA6}" dt="2022-05-03T23:17:38.833" v="13" actId="164"/>
      <pc:docMkLst>
        <pc:docMk/>
      </pc:docMkLst>
      <pc:sldChg chg="modSp mod">
        <pc:chgData name="Katerine Schifino" userId="37bb67de-9fcf-4611-888c-7e5b58184a2a" providerId="ADAL" clId="{CC940CF9-219C-43FB-BAEA-46B0D67ACBA6}" dt="2022-05-03T23:16:32.623" v="6"/>
        <pc:sldMkLst>
          <pc:docMk/>
          <pc:sldMk cId="1763399354" sldId="2080108152"/>
        </pc:sldMkLst>
        <pc:spChg chg="mod">
          <ac:chgData name="Katerine Schifino" userId="37bb67de-9fcf-4611-888c-7e5b58184a2a" providerId="ADAL" clId="{CC940CF9-219C-43FB-BAEA-46B0D67ACBA6}" dt="2022-05-03T23:14:46.116" v="4" actId="20577"/>
          <ac:spMkLst>
            <pc:docMk/>
            <pc:sldMk cId="1763399354" sldId="2080108152"/>
            <ac:spMk id="52" creationId="{F65A41A8-486C-49E1-A1BE-F0D6BC7A3152}"/>
          </ac:spMkLst>
        </pc:spChg>
        <pc:spChg chg="mod">
          <ac:chgData name="Katerine Schifino" userId="37bb67de-9fcf-4611-888c-7e5b58184a2a" providerId="ADAL" clId="{CC940CF9-219C-43FB-BAEA-46B0D67ACBA6}" dt="2022-05-03T23:16:32.623" v="6"/>
          <ac:spMkLst>
            <pc:docMk/>
            <pc:sldMk cId="1763399354" sldId="2080108152"/>
            <ac:spMk id="67" creationId="{40468A0C-FBD1-4E98-A3DD-BDE0DE998A2A}"/>
          </ac:spMkLst>
        </pc:spChg>
      </pc:sldChg>
      <pc:sldChg chg="modSp mod">
        <pc:chgData name="Katerine Schifino" userId="37bb67de-9fcf-4611-888c-7e5b58184a2a" providerId="ADAL" clId="{CC940CF9-219C-43FB-BAEA-46B0D67ACBA6}" dt="2022-05-03T23:14:23.879" v="1" actId="20577"/>
        <pc:sldMkLst>
          <pc:docMk/>
          <pc:sldMk cId="2729674122" sldId="2146846138"/>
        </pc:sldMkLst>
        <pc:spChg chg="mod">
          <ac:chgData name="Katerine Schifino" userId="37bb67de-9fcf-4611-888c-7e5b58184a2a" providerId="ADAL" clId="{CC940CF9-219C-43FB-BAEA-46B0D67ACBA6}" dt="2022-05-03T23:14:23.879" v="1" actId="20577"/>
          <ac:spMkLst>
            <pc:docMk/>
            <pc:sldMk cId="2729674122" sldId="2146846138"/>
            <ac:spMk id="8" creationId="{F3692B0D-82AC-41A6-A5BD-1A4B9AC9B985}"/>
          </ac:spMkLst>
        </pc:spChg>
      </pc:sldChg>
      <pc:sldChg chg="addSp modSp mod">
        <pc:chgData name="Katerine Schifino" userId="37bb67de-9fcf-4611-888c-7e5b58184a2a" providerId="ADAL" clId="{CC940CF9-219C-43FB-BAEA-46B0D67ACBA6}" dt="2022-05-03T23:17:38.833" v="13" actId="164"/>
        <pc:sldMkLst>
          <pc:docMk/>
          <pc:sldMk cId="2318814632" sldId="2146846140"/>
        </pc:sldMkLst>
        <pc:spChg chg="mod">
          <ac:chgData name="Katerine Schifino" userId="37bb67de-9fcf-4611-888c-7e5b58184a2a" providerId="ADAL" clId="{CC940CF9-219C-43FB-BAEA-46B0D67ACBA6}" dt="2022-05-03T23:17:38.833" v="13" actId="164"/>
          <ac:spMkLst>
            <pc:docMk/>
            <pc:sldMk cId="2318814632" sldId="2146846140"/>
            <ac:spMk id="2" creationId="{68EA5FB2-E061-4F05-8F80-5F71CF64B337}"/>
          </ac:spMkLst>
        </pc:spChg>
        <pc:spChg chg="mod">
          <ac:chgData name="Katerine Schifino" userId="37bb67de-9fcf-4611-888c-7e5b58184a2a" providerId="ADAL" clId="{CC940CF9-219C-43FB-BAEA-46B0D67ACBA6}" dt="2022-05-03T23:17:32.196" v="11" actId="15"/>
          <ac:spMkLst>
            <pc:docMk/>
            <pc:sldMk cId="2318814632" sldId="2146846140"/>
            <ac:spMk id="11" creationId="{4E24824E-F86D-4BF1-A73F-457CD5F4A18D}"/>
          </ac:spMkLst>
        </pc:spChg>
        <pc:grpChg chg="add mod">
          <ac:chgData name="Katerine Schifino" userId="37bb67de-9fcf-4611-888c-7e5b58184a2a" providerId="ADAL" clId="{CC940CF9-219C-43FB-BAEA-46B0D67ACBA6}" dt="2022-05-03T23:17:38.833" v="13" actId="164"/>
          <ac:grpSpMkLst>
            <pc:docMk/>
            <pc:sldMk cId="2318814632" sldId="2146846140"/>
            <ac:grpSpMk id="3" creationId="{D2F2EA5F-49D7-4538-BC25-9B524B7B1F55}"/>
          </ac:grpSpMkLst>
        </pc:grpChg>
        <pc:picChg chg="mod">
          <ac:chgData name="Katerine Schifino" userId="37bb67de-9fcf-4611-888c-7e5b58184a2a" providerId="ADAL" clId="{CC940CF9-219C-43FB-BAEA-46B0D67ACBA6}" dt="2022-05-03T23:17:38.833" v="13" actId="164"/>
          <ac:picMkLst>
            <pc:docMk/>
            <pc:sldMk cId="2318814632" sldId="2146846140"/>
            <ac:picMk id="4" creationId="{FE185935-83F9-42E2-BE95-6DF020A0FF0E}"/>
          </ac:picMkLst>
        </pc:picChg>
      </pc:sldChg>
      <pc:sldChg chg="del">
        <pc:chgData name="Katerine Schifino" userId="37bb67de-9fcf-4611-888c-7e5b58184a2a" providerId="ADAL" clId="{CC940CF9-219C-43FB-BAEA-46B0D67ACBA6}" dt="2022-05-03T23:14:30.615" v="2" actId="47"/>
        <pc:sldMkLst>
          <pc:docMk/>
          <pc:sldMk cId="3494044939" sldId="2146846141"/>
        </pc:sldMkLst>
      </pc:sldChg>
    </pc:docChg>
  </pc:docChgLst>
  <pc:docChgLst>
    <pc:chgData name="Daniel Muñoz Segura" userId="5f248e46-5f71-4343-9f7d-d0058a4af8ed" providerId="ADAL" clId="{6C9F38EF-DBD2-4D8E-B228-1D80936F850C}"/>
    <pc:docChg chg="undo custSel addSld delSld modSld modSection">
      <pc:chgData name="Daniel Muñoz Segura" userId="5f248e46-5f71-4343-9f7d-d0058a4af8ed" providerId="ADAL" clId="{6C9F38EF-DBD2-4D8E-B228-1D80936F850C}" dt="2022-05-03T23:06:49.713" v="969" actId="20577"/>
      <pc:docMkLst>
        <pc:docMk/>
      </pc:docMkLst>
      <pc:sldChg chg="modSp add mod">
        <pc:chgData name="Daniel Muñoz Segura" userId="5f248e46-5f71-4343-9f7d-d0058a4af8ed" providerId="ADAL" clId="{6C9F38EF-DBD2-4D8E-B228-1D80936F850C}" dt="2022-05-03T23:02:55.814" v="741"/>
        <pc:sldMkLst>
          <pc:docMk/>
          <pc:sldMk cId="1763399354" sldId="2080108152"/>
        </pc:sldMkLst>
        <pc:spChg chg="mod">
          <ac:chgData name="Daniel Muñoz Segura" userId="5f248e46-5f71-4343-9f7d-d0058a4af8ed" providerId="ADAL" clId="{6C9F38EF-DBD2-4D8E-B228-1D80936F850C}" dt="2022-05-03T22:54:59.551" v="523" actId="20577"/>
          <ac:spMkLst>
            <pc:docMk/>
            <pc:sldMk cId="1763399354" sldId="2080108152"/>
            <ac:spMk id="51" creationId="{761E16A8-2197-4EF1-9759-E32402BBAAB2}"/>
          </ac:spMkLst>
        </pc:spChg>
        <pc:spChg chg="mod">
          <ac:chgData name="Daniel Muñoz Segura" userId="5f248e46-5f71-4343-9f7d-d0058a4af8ed" providerId="ADAL" clId="{6C9F38EF-DBD2-4D8E-B228-1D80936F850C}" dt="2022-05-03T22:54:33.408" v="514" actId="20577"/>
          <ac:spMkLst>
            <pc:docMk/>
            <pc:sldMk cId="1763399354" sldId="2080108152"/>
            <ac:spMk id="52" creationId="{F65A41A8-486C-49E1-A1BE-F0D6BC7A3152}"/>
          </ac:spMkLst>
        </pc:spChg>
        <pc:spChg chg="mod">
          <ac:chgData name="Daniel Muñoz Segura" userId="5f248e46-5f71-4343-9f7d-d0058a4af8ed" providerId="ADAL" clId="{6C9F38EF-DBD2-4D8E-B228-1D80936F850C}" dt="2022-05-03T22:57:34.890" v="646"/>
          <ac:spMkLst>
            <pc:docMk/>
            <pc:sldMk cId="1763399354" sldId="2080108152"/>
            <ac:spMk id="59" creationId="{422A93F6-EA38-4E0A-B73A-64A31DA215B7}"/>
          </ac:spMkLst>
        </pc:spChg>
        <pc:spChg chg="mod">
          <ac:chgData name="Daniel Muñoz Segura" userId="5f248e46-5f71-4343-9f7d-d0058a4af8ed" providerId="ADAL" clId="{6C9F38EF-DBD2-4D8E-B228-1D80936F850C}" dt="2022-05-03T22:55:59.968" v="568" actId="20577"/>
          <ac:spMkLst>
            <pc:docMk/>
            <pc:sldMk cId="1763399354" sldId="2080108152"/>
            <ac:spMk id="61" creationId="{C9C36564-731C-4B86-BEBD-F18FEC8B3262}"/>
          </ac:spMkLst>
        </pc:spChg>
        <pc:spChg chg="mod">
          <ac:chgData name="Daniel Muñoz Segura" userId="5f248e46-5f71-4343-9f7d-d0058a4af8ed" providerId="ADAL" clId="{6C9F38EF-DBD2-4D8E-B228-1D80936F850C}" dt="2022-05-03T23:01:11.078" v="721"/>
          <ac:spMkLst>
            <pc:docMk/>
            <pc:sldMk cId="1763399354" sldId="2080108152"/>
            <ac:spMk id="63" creationId="{826F8B44-A45F-4921-BA1C-BB16C2ACBC8D}"/>
          </ac:spMkLst>
        </pc:spChg>
        <pc:spChg chg="mod">
          <ac:chgData name="Daniel Muñoz Segura" userId="5f248e46-5f71-4343-9f7d-d0058a4af8ed" providerId="ADAL" clId="{6C9F38EF-DBD2-4D8E-B228-1D80936F850C}" dt="2022-05-03T22:59:34.375" v="705" actId="20577"/>
          <ac:spMkLst>
            <pc:docMk/>
            <pc:sldMk cId="1763399354" sldId="2080108152"/>
            <ac:spMk id="66" creationId="{681673FD-1728-4EAC-B461-E6A26E7D5B58}"/>
          </ac:spMkLst>
        </pc:spChg>
        <pc:spChg chg="mod">
          <ac:chgData name="Daniel Muñoz Segura" userId="5f248e46-5f71-4343-9f7d-d0058a4af8ed" providerId="ADAL" clId="{6C9F38EF-DBD2-4D8E-B228-1D80936F850C}" dt="2022-05-03T23:00:14.030" v="713"/>
          <ac:spMkLst>
            <pc:docMk/>
            <pc:sldMk cId="1763399354" sldId="2080108152"/>
            <ac:spMk id="67" creationId="{40468A0C-FBD1-4E98-A3DD-BDE0DE998A2A}"/>
          </ac:spMkLst>
        </pc:spChg>
        <pc:spChg chg="mod">
          <ac:chgData name="Daniel Muñoz Segura" userId="5f248e46-5f71-4343-9f7d-d0058a4af8ed" providerId="ADAL" clId="{6C9F38EF-DBD2-4D8E-B228-1D80936F850C}" dt="2022-05-03T23:01:11.078" v="721"/>
          <ac:spMkLst>
            <pc:docMk/>
            <pc:sldMk cId="1763399354" sldId="2080108152"/>
            <ac:spMk id="68" creationId="{F211D6F8-36F3-48C3-91A1-FB236F9BA408}"/>
          </ac:spMkLst>
        </pc:spChg>
        <pc:spChg chg="mod">
          <ac:chgData name="Daniel Muñoz Segura" userId="5f248e46-5f71-4343-9f7d-d0058a4af8ed" providerId="ADAL" clId="{6C9F38EF-DBD2-4D8E-B228-1D80936F850C}" dt="2022-05-03T23:02:27.460" v="732"/>
          <ac:spMkLst>
            <pc:docMk/>
            <pc:sldMk cId="1763399354" sldId="2080108152"/>
            <ac:spMk id="69" creationId="{391E7FE5-F827-43AB-AF69-B560CA81E82C}"/>
          </ac:spMkLst>
        </pc:spChg>
        <pc:spChg chg="mod">
          <ac:chgData name="Daniel Muñoz Segura" userId="5f248e46-5f71-4343-9f7d-d0058a4af8ed" providerId="ADAL" clId="{6C9F38EF-DBD2-4D8E-B228-1D80936F850C}" dt="2022-05-03T23:02:04.833" v="730"/>
          <ac:spMkLst>
            <pc:docMk/>
            <pc:sldMk cId="1763399354" sldId="2080108152"/>
            <ac:spMk id="70" creationId="{DAE71F83-9F04-4C4E-B16E-969DF16125E8}"/>
          </ac:spMkLst>
        </pc:spChg>
        <pc:spChg chg="mod">
          <ac:chgData name="Daniel Muñoz Segura" userId="5f248e46-5f71-4343-9f7d-d0058a4af8ed" providerId="ADAL" clId="{6C9F38EF-DBD2-4D8E-B228-1D80936F850C}" dt="2022-05-03T23:02:55.814" v="741"/>
          <ac:spMkLst>
            <pc:docMk/>
            <pc:sldMk cId="1763399354" sldId="2080108152"/>
            <ac:spMk id="71" creationId="{38556937-2D3B-4151-B2D9-D4B7177B52F3}"/>
          </ac:spMkLst>
        </pc:spChg>
        <pc:spChg chg="mod">
          <ac:chgData name="Daniel Muñoz Segura" userId="5f248e46-5f71-4343-9f7d-d0058a4af8ed" providerId="ADAL" clId="{6C9F38EF-DBD2-4D8E-B228-1D80936F850C}" dt="2022-05-03T23:02:04.833" v="730"/>
          <ac:spMkLst>
            <pc:docMk/>
            <pc:sldMk cId="1763399354" sldId="2080108152"/>
            <ac:spMk id="72" creationId="{EAED0996-E726-4806-A44B-EAFD7E03AD78}"/>
          </ac:spMkLst>
        </pc:spChg>
        <pc:grpChg chg="mod">
          <ac:chgData name="Daniel Muñoz Segura" userId="5f248e46-5f71-4343-9f7d-d0058a4af8ed" providerId="ADAL" clId="{6C9F38EF-DBD2-4D8E-B228-1D80936F850C}" dt="2022-05-03T23:02:27.460" v="732"/>
          <ac:grpSpMkLst>
            <pc:docMk/>
            <pc:sldMk cId="1763399354" sldId="2080108152"/>
            <ac:grpSpMk id="2" creationId="{B5E2AE52-EFF4-4B42-9C49-31FB5B6EF685}"/>
          </ac:grpSpMkLst>
        </pc:grpChg>
        <pc:grpChg chg="mod">
          <ac:chgData name="Daniel Muñoz Segura" userId="5f248e46-5f71-4343-9f7d-d0058a4af8ed" providerId="ADAL" clId="{6C9F38EF-DBD2-4D8E-B228-1D80936F850C}" dt="2022-05-03T22:57:34.890" v="646"/>
          <ac:grpSpMkLst>
            <pc:docMk/>
            <pc:sldMk cId="1763399354" sldId="2080108152"/>
            <ac:grpSpMk id="3" creationId="{F92F63AE-D852-44C5-839D-7C4A2E0DC9C6}"/>
          </ac:grpSpMkLst>
        </pc:grpChg>
        <pc:grpChg chg="mod">
          <ac:chgData name="Daniel Muñoz Segura" userId="5f248e46-5f71-4343-9f7d-d0058a4af8ed" providerId="ADAL" clId="{6C9F38EF-DBD2-4D8E-B228-1D80936F850C}" dt="2022-05-03T23:02:04.833" v="730"/>
          <ac:grpSpMkLst>
            <pc:docMk/>
            <pc:sldMk cId="1763399354" sldId="2080108152"/>
            <ac:grpSpMk id="4" creationId="{BA4CF336-FA60-4B74-9048-1D8808F06B96}"/>
          </ac:grpSpMkLst>
        </pc:grpChg>
        <pc:grpChg chg="mod">
          <ac:chgData name="Daniel Muñoz Segura" userId="5f248e46-5f71-4343-9f7d-d0058a4af8ed" providerId="ADAL" clId="{6C9F38EF-DBD2-4D8E-B228-1D80936F850C}" dt="2022-05-03T23:01:11.078" v="721"/>
          <ac:grpSpMkLst>
            <pc:docMk/>
            <pc:sldMk cId="1763399354" sldId="2080108152"/>
            <ac:grpSpMk id="5" creationId="{DDABD6B2-AE84-4CDF-96E8-9E65092454F6}"/>
          </ac:grpSpMkLst>
        </pc:grpChg>
      </pc:sldChg>
      <pc:sldChg chg="modSp add mod">
        <pc:chgData name="Daniel Muñoz Segura" userId="5f248e46-5f71-4343-9f7d-d0058a4af8ed" providerId="ADAL" clId="{6C9F38EF-DBD2-4D8E-B228-1D80936F850C}" dt="2022-05-03T23:05:16.376" v="873" actId="20577"/>
        <pc:sldMkLst>
          <pc:docMk/>
          <pc:sldMk cId="1414752705" sldId="2080108154"/>
        </pc:sldMkLst>
        <pc:spChg chg="mod">
          <ac:chgData name="Daniel Muñoz Segura" userId="5f248e46-5f71-4343-9f7d-d0058a4af8ed" providerId="ADAL" clId="{6C9F38EF-DBD2-4D8E-B228-1D80936F850C}" dt="2022-05-03T23:05:02.064" v="843" actId="20577"/>
          <ac:spMkLst>
            <pc:docMk/>
            <pc:sldMk cId="1414752705" sldId="2080108154"/>
            <ac:spMk id="42" creationId="{B630FCA5-ABD1-4D65-90FF-5E70C540242F}"/>
          </ac:spMkLst>
        </pc:spChg>
        <pc:spChg chg="mod">
          <ac:chgData name="Daniel Muñoz Segura" userId="5f248e46-5f71-4343-9f7d-d0058a4af8ed" providerId="ADAL" clId="{6C9F38EF-DBD2-4D8E-B228-1D80936F850C}" dt="2022-05-03T23:05:16.376" v="873" actId="20577"/>
          <ac:spMkLst>
            <pc:docMk/>
            <pc:sldMk cId="1414752705" sldId="2080108154"/>
            <ac:spMk id="43" creationId="{3DD8309E-14FF-45B7-8E9D-FE0C6E2D9A17}"/>
          </ac:spMkLst>
        </pc:spChg>
        <pc:spChg chg="mod">
          <ac:chgData name="Daniel Muñoz Segura" userId="5f248e46-5f71-4343-9f7d-d0058a4af8ed" providerId="ADAL" clId="{6C9F38EF-DBD2-4D8E-B228-1D80936F850C}" dt="2022-05-03T23:04:42.071" v="798" actId="20577"/>
          <ac:spMkLst>
            <pc:docMk/>
            <pc:sldMk cId="1414752705" sldId="2080108154"/>
            <ac:spMk id="44" creationId="{F240F267-A055-4921-B8C8-BB56A22F8639}"/>
          </ac:spMkLst>
        </pc:spChg>
        <pc:spChg chg="mod">
          <ac:chgData name="Daniel Muñoz Segura" userId="5f248e46-5f71-4343-9f7d-d0058a4af8ed" providerId="ADAL" clId="{6C9F38EF-DBD2-4D8E-B228-1D80936F850C}" dt="2022-05-03T23:04:55.088" v="824" actId="20577"/>
          <ac:spMkLst>
            <pc:docMk/>
            <pc:sldMk cId="1414752705" sldId="2080108154"/>
            <ac:spMk id="45" creationId="{3C8FCCB4-CC87-4935-AF12-3C0023C4A514}"/>
          </ac:spMkLst>
        </pc:spChg>
        <pc:spChg chg="mod">
          <ac:chgData name="Daniel Muñoz Segura" userId="5f248e46-5f71-4343-9f7d-d0058a4af8ed" providerId="ADAL" clId="{6C9F38EF-DBD2-4D8E-B228-1D80936F850C}" dt="2022-05-03T23:04:24.535" v="772" actId="20577"/>
          <ac:spMkLst>
            <pc:docMk/>
            <pc:sldMk cId="1414752705" sldId="2080108154"/>
            <ac:spMk id="48" creationId="{E42B9697-5FA5-4C8C-BD93-E8A6CEA81210}"/>
          </ac:spMkLst>
        </pc:spChg>
        <pc:spChg chg="mod">
          <ac:chgData name="Daniel Muñoz Segura" userId="5f248e46-5f71-4343-9f7d-d0058a4af8ed" providerId="ADAL" clId="{6C9F38EF-DBD2-4D8E-B228-1D80936F850C}" dt="2022-05-03T23:03:09.583" v="743" actId="20577"/>
          <ac:spMkLst>
            <pc:docMk/>
            <pc:sldMk cId="1414752705" sldId="2080108154"/>
            <ac:spMk id="49" creationId="{7F9A2BDE-C0F8-4DA6-BAE0-73F19E40B1B8}"/>
          </ac:spMkLst>
        </pc:spChg>
        <pc:spChg chg="mod">
          <ac:chgData name="Daniel Muñoz Segura" userId="5f248e46-5f71-4343-9f7d-d0058a4af8ed" providerId="ADAL" clId="{6C9F38EF-DBD2-4D8E-B228-1D80936F850C}" dt="2022-05-03T23:03:19.045" v="744"/>
          <ac:spMkLst>
            <pc:docMk/>
            <pc:sldMk cId="1414752705" sldId="2080108154"/>
            <ac:spMk id="59" creationId="{422A93F6-EA38-4E0A-B73A-64A31DA215B7}"/>
          </ac:spMkLst>
        </pc:spChg>
        <pc:spChg chg="mod">
          <ac:chgData name="Daniel Muñoz Segura" userId="5f248e46-5f71-4343-9f7d-d0058a4af8ed" providerId="ADAL" clId="{6C9F38EF-DBD2-4D8E-B228-1D80936F850C}" dt="2022-05-03T23:03:26.053" v="745"/>
          <ac:spMkLst>
            <pc:docMk/>
            <pc:sldMk cId="1414752705" sldId="2080108154"/>
            <ac:spMk id="61" creationId="{C9C36564-731C-4B86-BEBD-F18FEC8B3262}"/>
          </ac:spMkLst>
        </pc:spChg>
        <pc:spChg chg="mod">
          <ac:chgData name="Daniel Muñoz Segura" userId="5f248e46-5f71-4343-9f7d-d0058a4af8ed" providerId="ADAL" clId="{6C9F38EF-DBD2-4D8E-B228-1D80936F850C}" dt="2022-05-03T23:03:52.454" v="748"/>
          <ac:spMkLst>
            <pc:docMk/>
            <pc:sldMk cId="1414752705" sldId="2080108154"/>
            <ac:spMk id="63" creationId="{826F8B44-A45F-4921-BA1C-BB16C2ACBC8D}"/>
          </ac:spMkLst>
        </pc:spChg>
        <pc:spChg chg="mod">
          <ac:chgData name="Daniel Muñoz Segura" userId="5f248e46-5f71-4343-9f7d-d0058a4af8ed" providerId="ADAL" clId="{6C9F38EF-DBD2-4D8E-B228-1D80936F850C}" dt="2022-05-03T23:03:41.838" v="747"/>
          <ac:spMkLst>
            <pc:docMk/>
            <pc:sldMk cId="1414752705" sldId="2080108154"/>
            <ac:spMk id="69" creationId="{391E7FE5-F827-43AB-AF69-B560CA81E82C}"/>
          </ac:spMkLst>
        </pc:spChg>
        <pc:spChg chg="mod">
          <ac:chgData name="Daniel Muñoz Segura" userId="5f248e46-5f71-4343-9f7d-d0058a4af8ed" providerId="ADAL" clId="{6C9F38EF-DBD2-4D8E-B228-1D80936F850C}" dt="2022-05-03T23:04:08.166" v="749"/>
          <ac:spMkLst>
            <pc:docMk/>
            <pc:sldMk cId="1414752705" sldId="2080108154"/>
            <ac:spMk id="70" creationId="{DAE71F83-9F04-4C4E-B16E-969DF16125E8}"/>
          </ac:spMkLst>
        </pc:spChg>
      </pc:sldChg>
      <pc:sldChg chg="del">
        <pc:chgData name="Daniel Muñoz Segura" userId="5f248e46-5f71-4343-9f7d-d0058a4af8ed" providerId="ADAL" clId="{6C9F38EF-DBD2-4D8E-B228-1D80936F850C}" dt="2022-05-03T22:29:51.205" v="0" actId="2696"/>
        <pc:sldMkLst>
          <pc:docMk/>
          <pc:sldMk cId="2367529978" sldId="2146846104"/>
        </pc:sldMkLst>
      </pc:sldChg>
      <pc:sldChg chg="del">
        <pc:chgData name="Daniel Muñoz Segura" userId="5f248e46-5f71-4343-9f7d-d0058a4af8ed" providerId="ADAL" clId="{6C9F38EF-DBD2-4D8E-B228-1D80936F850C}" dt="2022-05-03T22:29:51.205" v="0" actId="2696"/>
        <pc:sldMkLst>
          <pc:docMk/>
          <pc:sldMk cId="3424299804" sldId="2146846135"/>
        </pc:sldMkLst>
      </pc:sldChg>
      <pc:sldChg chg="modSp mod">
        <pc:chgData name="Daniel Muñoz Segura" userId="5f248e46-5f71-4343-9f7d-d0058a4af8ed" providerId="ADAL" clId="{6C9F38EF-DBD2-4D8E-B228-1D80936F850C}" dt="2022-05-03T22:30:50.127" v="27" actId="20577"/>
        <pc:sldMkLst>
          <pc:docMk/>
          <pc:sldMk cId="3576568090" sldId="2146846137"/>
        </pc:sldMkLst>
        <pc:spChg chg="mod">
          <ac:chgData name="Daniel Muñoz Segura" userId="5f248e46-5f71-4343-9f7d-d0058a4af8ed" providerId="ADAL" clId="{6C9F38EF-DBD2-4D8E-B228-1D80936F850C}" dt="2022-05-03T22:30:50.127" v="27" actId="20577"/>
          <ac:spMkLst>
            <pc:docMk/>
            <pc:sldMk cId="3576568090" sldId="2146846137"/>
            <ac:spMk id="6" creationId="{C3E24BFF-A0DB-4ECE-96D3-5EAB937B7323}"/>
          </ac:spMkLst>
        </pc:spChg>
      </pc:sldChg>
      <pc:sldChg chg="modSp mod">
        <pc:chgData name="Daniel Muñoz Segura" userId="5f248e46-5f71-4343-9f7d-d0058a4af8ed" providerId="ADAL" clId="{6C9F38EF-DBD2-4D8E-B228-1D80936F850C}" dt="2022-05-03T22:50:46.916" v="411" actId="20577"/>
        <pc:sldMkLst>
          <pc:docMk/>
          <pc:sldMk cId="2729674122" sldId="2146846138"/>
        </pc:sldMkLst>
        <pc:spChg chg="mod">
          <ac:chgData name="Daniel Muñoz Segura" userId="5f248e46-5f71-4343-9f7d-d0058a4af8ed" providerId="ADAL" clId="{6C9F38EF-DBD2-4D8E-B228-1D80936F850C}" dt="2022-05-03T22:50:46.916" v="411" actId="20577"/>
          <ac:spMkLst>
            <pc:docMk/>
            <pc:sldMk cId="2729674122" sldId="2146846138"/>
            <ac:spMk id="8" creationId="{F3692B0D-82AC-41A6-A5BD-1A4B9AC9B985}"/>
          </ac:spMkLst>
        </pc:spChg>
      </pc:sldChg>
      <pc:sldChg chg="modSp mod">
        <pc:chgData name="Daniel Muñoz Segura" userId="5f248e46-5f71-4343-9f7d-d0058a4af8ed" providerId="ADAL" clId="{6C9F38EF-DBD2-4D8E-B228-1D80936F850C}" dt="2022-05-03T22:46:30.873" v="274" actId="20577"/>
        <pc:sldMkLst>
          <pc:docMk/>
          <pc:sldMk cId="3308792200" sldId="2146846139"/>
        </pc:sldMkLst>
        <pc:spChg chg="mod">
          <ac:chgData name="Daniel Muñoz Segura" userId="5f248e46-5f71-4343-9f7d-d0058a4af8ed" providerId="ADAL" clId="{6C9F38EF-DBD2-4D8E-B228-1D80936F850C}" dt="2022-05-03T22:32:27.419" v="154" actId="33524"/>
          <ac:spMkLst>
            <pc:docMk/>
            <pc:sldMk cId="3308792200" sldId="2146846139"/>
            <ac:spMk id="9" creationId="{C46E46B2-8DA6-4180-BE6E-D6D94C9C18D5}"/>
          </ac:spMkLst>
        </pc:spChg>
        <pc:spChg chg="mod">
          <ac:chgData name="Daniel Muñoz Segura" userId="5f248e46-5f71-4343-9f7d-d0058a4af8ed" providerId="ADAL" clId="{6C9F38EF-DBD2-4D8E-B228-1D80936F850C}" dt="2022-05-03T22:46:30.873" v="274" actId="20577"/>
          <ac:spMkLst>
            <pc:docMk/>
            <pc:sldMk cId="3308792200" sldId="2146846139"/>
            <ac:spMk id="10" creationId="{BD334509-8071-4DDA-8AA5-4A11F7D38E21}"/>
          </ac:spMkLst>
        </pc:spChg>
        <pc:graphicFrameChg chg="mod modGraphic">
          <ac:chgData name="Daniel Muñoz Segura" userId="5f248e46-5f71-4343-9f7d-d0058a4af8ed" providerId="ADAL" clId="{6C9F38EF-DBD2-4D8E-B228-1D80936F850C}" dt="2022-05-03T22:45:08.166" v="215" actId="1035"/>
          <ac:graphicFrameMkLst>
            <pc:docMk/>
            <pc:sldMk cId="3308792200" sldId="2146846139"/>
            <ac:graphicFrameMk id="7" creationId="{C9AC83A0-A20D-4A6B-8729-5097ABD46F34}"/>
          </ac:graphicFrameMkLst>
        </pc:graphicFrameChg>
      </pc:sldChg>
      <pc:sldChg chg="modSp mod">
        <pc:chgData name="Daniel Muñoz Segura" userId="5f248e46-5f71-4343-9f7d-d0058a4af8ed" providerId="ADAL" clId="{6C9F38EF-DBD2-4D8E-B228-1D80936F850C}" dt="2022-05-03T22:47:38.427" v="342" actId="20577"/>
        <pc:sldMkLst>
          <pc:docMk/>
          <pc:sldMk cId="2318814632" sldId="2146846140"/>
        </pc:sldMkLst>
        <pc:spChg chg="mod">
          <ac:chgData name="Daniel Muñoz Segura" userId="5f248e46-5f71-4343-9f7d-d0058a4af8ed" providerId="ADAL" clId="{6C9F38EF-DBD2-4D8E-B228-1D80936F850C}" dt="2022-05-03T22:47:38.427" v="342" actId="20577"/>
          <ac:spMkLst>
            <pc:docMk/>
            <pc:sldMk cId="2318814632" sldId="2146846140"/>
            <ac:spMk id="11" creationId="{4E24824E-F86D-4BF1-A73F-457CD5F4A18D}"/>
          </ac:spMkLst>
        </pc:spChg>
      </pc:sldChg>
      <pc:sldChg chg="delSp modSp mod">
        <pc:chgData name="Daniel Muñoz Segura" userId="5f248e46-5f71-4343-9f7d-d0058a4af8ed" providerId="ADAL" clId="{6C9F38EF-DBD2-4D8E-B228-1D80936F850C}" dt="2022-05-03T23:06:49.713" v="969" actId="20577"/>
        <pc:sldMkLst>
          <pc:docMk/>
          <pc:sldMk cId="3494044939" sldId="2146846141"/>
        </pc:sldMkLst>
        <pc:spChg chg="del">
          <ac:chgData name="Daniel Muñoz Segura" userId="5f248e46-5f71-4343-9f7d-d0058a4af8ed" providerId="ADAL" clId="{6C9F38EF-DBD2-4D8E-B228-1D80936F850C}" dt="2022-05-03T23:06:17.912" v="897" actId="478"/>
          <ac:spMkLst>
            <pc:docMk/>
            <pc:sldMk cId="3494044939" sldId="2146846141"/>
            <ac:spMk id="10" creationId="{11F68A45-4F33-493E-930F-2B9C2E4FDB2F}"/>
          </ac:spMkLst>
        </pc:spChg>
        <pc:spChg chg="mod">
          <ac:chgData name="Daniel Muñoz Segura" userId="5f248e46-5f71-4343-9f7d-d0058a4af8ed" providerId="ADAL" clId="{6C9F38EF-DBD2-4D8E-B228-1D80936F850C}" dt="2022-05-03T23:06:49.713" v="969" actId="20577"/>
          <ac:spMkLst>
            <pc:docMk/>
            <pc:sldMk cId="3494044939" sldId="2146846141"/>
            <ac:spMk id="11" creationId="{4E24824E-F86D-4BF1-A73F-457CD5F4A18D}"/>
          </ac:spMkLst>
        </pc:spChg>
        <pc:spChg chg="mod">
          <ac:chgData name="Daniel Muñoz Segura" userId="5f248e46-5f71-4343-9f7d-d0058a4af8ed" providerId="ADAL" clId="{6C9F38EF-DBD2-4D8E-B228-1D80936F850C}" dt="2022-05-03T23:06:25.393" v="952" actId="1036"/>
          <ac:spMkLst>
            <pc:docMk/>
            <pc:sldMk cId="3494044939" sldId="2146846141"/>
            <ac:spMk id="16" creationId="{0363F5E5-3982-41A4-BC17-54B86909FA7E}"/>
          </ac:spMkLst>
        </pc:spChg>
        <pc:grpChg chg="del">
          <ac:chgData name="Daniel Muñoz Segura" userId="5f248e46-5f71-4343-9f7d-d0058a4af8ed" providerId="ADAL" clId="{6C9F38EF-DBD2-4D8E-B228-1D80936F850C}" dt="2022-05-03T23:06:17.912" v="897" actId="478"/>
          <ac:grpSpMkLst>
            <pc:docMk/>
            <pc:sldMk cId="3494044939" sldId="2146846141"/>
            <ac:grpSpMk id="8" creationId="{6BA275C3-9BFC-4181-98E8-C896A8C8A69D}"/>
          </ac:grpSpMkLst>
        </pc:grpChg>
      </pc:sldChg>
      <pc:sldChg chg="del">
        <pc:chgData name="Daniel Muñoz Segura" userId="5f248e46-5f71-4343-9f7d-d0058a4af8ed" providerId="ADAL" clId="{6C9F38EF-DBD2-4D8E-B228-1D80936F850C}" dt="2022-05-03T22:50:56.790" v="412" actId="2696"/>
        <pc:sldMkLst>
          <pc:docMk/>
          <pc:sldMk cId="4215550961" sldId="214684614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3E4BD6-E97A-46A4-AA30-568852B539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a:extLst>
              <a:ext uri="{FF2B5EF4-FFF2-40B4-BE49-F238E27FC236}">
                <a16:creationId xmlns:a16="http://schemas.microsoft.com/office/drawing/2014/main" id="{58774AE6-0DA8-408F-8134-DDABC2EE87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287E9E-D2F8-4C1C-BC9F-E2CABAE66FE1}" type="datetimeFigureOut">
              <a:rPr lang="es-ES_tradnl" smtClean="0"/>
              <a:t>03/05/2022</a:t>
            </a:fld>
            <a:endParaRPr lang="es-ES_tradnl"/>
          </a:p>
        </p:txBody>
      </p:sp>
      <p:sp>
        <p:nvSpPr>
          <p:cNvPr id="4" name="Footer Placeholder 3">
            <a:extLst>
              <a:ext uri="{FF2B5EF4-FFF2-40B4-BE49-F238E27FC236}">
                <a16:creationId xmlns:a16="http://schemas.microsoft.com/office/drawing/2014/main" id="{1BDC6ADC-9CF6-47F3-86B4-4F7930AEF62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5" name="Slide Number Placeholder 4">
            <a:extLst>
              <a:ext uri="{FF2B5EF4-FFF2-40B4-BE49-F238E27FC236}">
                <a16:creationId xmlns:a16="http://schemas.microsoft.com/office/drawing/2014/main" id="{EF5CB9E5-1AC4-4BEF-9A42-4B32FD446B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A63E78-60CA-441E-BA25-D241C8EDB6AE}" type="slidenum">
              <a:rPr lang="es-ES_tradnl" smtClean="0"/>
              <a:t>‹#›</a:t>
            </a:fld>
            <a:endParaRPr lang="es-ES_tradnl"/>
          </a:p>
        </p:txBody>
      </p:sp>
    </p:spTree>
    <p:extLst>
      <p:ext uri="{BB962C8B-B14F-4D97-AF65-F5344CB8AC3E}">
        <p14:creationId xmlns:p14="http://schemas.microsoft.com/office/powerpoint/2010/main" val="35576315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D72FAD-8778-405C-8921-79F3C25589D4}" type="datetimeFigureOut">
              <a:rPr lang="es-MX" smtClean="0"/>
              <a:t>03/05/2022</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25E69-1CAA-46A9-A4D5-F2855D38AA5E}" type="slidenum">
              <a:rPr lang="es-MX" smtClean="0"/>
              <a:t>‹#›</a:t>
            </a:fld>
            <a:endParaRPr lang="es-MX"/>
          </a:p>
        </p:txBody>
      </p:sp>
    </p:spTree>
    <p:extLst>
      <p:ext uri="{BB962C8B-B14F-4D97-AF65-F5344CB8AC3E}">
        <p14:creationId xmlns:p14="http://schemas.microsoft.com/office/powerpoint/2010/main" val="385930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dirty="0"/>
          </a:p>
        </p:txBody>
      </p:sp>
      <p:sp>
        <p:nvSpPr>
          <p:cNvPr id="4" name="Marcador de número de diapositiva 3"/>
          <p:cNvSpPr>
            <a:spLocks noGrp="1"/>
          </p:cNvSpPr>
          <p:nvPr>
            <p:ph type="sldNum" sz="quarter" idx="5"/>
          </p:nvPr>
        </p:nvSpPr>
        <p:spPr/>
        <p:txBody>
          <a:bodyPr/>
          <a:lstStyle/>
          <a:p>
            <a:fld id="{0650A416-AD79-4A78-B265-0B969D69B126}" type="slidenum">
              <a:rPr lang="es-419" smtClean="0"/>
              <a:t>1</a:t>
            </a:fld>
            <a:endParaRPr lang="es-419"/>
          </a:p>
        </p:txBody>
      </p:sp>
    </p:spTree>
    <p:extLst>
      <p:ext uri="{BB962C8B-B14F-4D97-AF65-F5344CB8AC3E}">
        <p14:creationId xmlns:p14="http://schemas.microsoft.com/office/powerpoint/2010/main" val="142270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2</a:t>
            </a:fld>
            <a:endParaRPr lang="es-MX"/>
          </a:p>
        </p:txBody>
      </p:sp>
    </p:spTree>
    <p:extLst>
      <p:ext uri="{BB962C8B-B14F-4D97-AF65-F5344CB8AC3E}">
        <p14:creationId xmlns:p14="http://schemas.microsoft.com/office/powerpoint/2010/main" val="1224434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3</a:t>
            </a:fld>
            <a:endParaRPr lang="es-MX"/>
          </a:p>
        </p:txBody>
      </p:sp>
    </p:spTree>
    <p:extLst>
      <p:ext uri="{BB962C8B-B14F-4D97-AF65-F5344CB8AC3E}">
        <p14:creationId xmlns:p14="http://schemas.microsoft.com/office/powerpoint/2010/main" val="1044971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4</a:t>
            </a:fld>
            <a:endParaRPr lang="es-MX"/>
          </a:p>
        </p:txBody>
      </p:sp>
    </p:spTree>
    <p:extLst>
      <p:ext uri="{BB962C8B-B14F-4D97-AF65-F5344CB8AC3E}">
        <p14:creationId xmlns:p14="http://schemas.microsoft.com/office/powerpoint/2010/main" val="2744385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BB325E69-1CAA-46A9-A4D5-F2855D38AA5E}" type="slidenum">
              <a:rPr lang="es-MX" smtClean="0"/>
              <a:t>5</a:t>
            </a:fld>
            <a:endParaRPr lang="es-MX"/>
          </a:p>
        </p:txBody>
      </p:sp>
    </p:spTree>
    <p:extLst>
      <p:ext uri="{BB962C8B-B14F-4D97-AF65-F5344CB8AC3E}">
        <p14:creationId xmlns:p14="http://schemas.microsoft.com/office/powerpoint/2010/main" val="2237780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7</a:t>
            </a:fld>
            <a:endParaRPr lang="es-MX"/>
          </a:p>
        </p:txBody>
      </p:sp>
    </p:spTree>
    <p:extLst>
      <p:ext uri="{BB962C8B-B14F-4D97-AF65-F5344CB8AC3E}">
        <p14:creationId xmlns:p14="http://schemas.microsoft.com/office/powerpoint/2010/main" val="3305135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1"/>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750704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9037011-340B-4BAD-A1B2-4E561233DAD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759410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9037011-340B-4BAD-A1B2-4E561233DAD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grpSp>
        <p:nvGrpSpPr>
          <p:cNvPr id="2" name="Group 1">
            <a:extLst>
              <a:ext uri="{FF2B5EF4-FFF2-40B4-BE49-F238E27FC236}">
                <a16:creationId xmlns:a16="http://schemas.microsoft.com/office/drawing/2014/main" id="{164DBBD2-31FA-49D4-A73C-F5618417CD78}"/>
              </a:ext>
            </a:extLst>
          </p:cNvPr>
          <p:cNvGrpSpPr/>
          <p:nvPr userDrawn="1"/>
        </p:nvGrpSpPr>
        <p:grpSpPr>
          <a:xfrm>
            <a:off x="317500" y="-143933"/>
            <a:ext cx="11874500" cy="7001933"/>
            <a:chOff x="317500" y="-143933"/>
            <a:chExt cx="11874500" cy="7001933"/>
          </a:xfrm>
        </p:grpSpPr>
        <p:pic>
          <p:nvPicPr>
            <p:cNvPr id="3" name="Picture 2">
              <a:extLst>
                <a:ext uri="{FF2B5EF4-FFF2-40B4-BE49-F238E27FC236}">
                  <a16:creationId xmlns:a16="http://schemas.microsoft.com/office/drawing/2014/main" id="{A65D2D27-6251-427D-8CD6-3877A0D07EAB}"/>
                </a:ext>
              </a:extLst>
            </p:cNvPr>
            <p:cNvPicPr>
              <a:picLocks noChangeAspect="1" noChangeArrowheads="1"/>
            </p:cNvPicPr>
            <p:nvPr userDrawn="1"/>
          </p:nvPicPr>
          <p:blipFill>
            <a:blip r:embed="rId4">
              <a:alphaModFix amt="5000"/>
              <a:extLst>
                <a:ext uri="{28A0092B-C50C-407E-A947-70E740481C1C}">
                  <a14:useLocalDpi xmlns:a14="http://schemas.microsoft.com/office/drawing/2010/main" val="0"/>
                </a:ext>
              </a:extLst>
            </a:blip>
            <a:srcRect/>
            <a:stretch>
              <a:fillRect/>
            </a:stretch>
          </p:blipFill>
          <p:spPr bwMode="auto">
            <a:xfrm>
              <a:off x="317500" y="-143933"/>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A3BC59E-D672-4A55-BAD3-02C118600F0E}"/>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t="10894"/>
            <a:stretch/>
          </p:blipFill>
          <p:spPr bwMode="auto">
            <a:xfrm>
              <a:off x="5413692" y="0"/>
              <a:ext cx="4876800" cy="434551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7A298334-0A8D-4F7D-BB05-50FDF31C692B}"/>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b="57400"/>
            <a:stretch/>
          </p:blipFill>
          <p:spPr bwMode="auto">
            <a:xfrm>
              <a:off x="1660525" y="4732867"/>
              <a:ext cx="4876800" cy="20775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C22F954-1D87-436F-A5A9-D0541938DB3A}"/>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t="69185" b="-1"/>
            <a:stretch/>
          </p:blipFill>
          <p:spPr bwMode="auto">
            <a:xfrm rot="5400000">
              <a:off x="9002183" y="2581804"/>
              <a:ext cx="4876800" cy="15028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BF425A56-2CCE-4909-8AB3-844871F624B9}"/>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l="15820" t="10432" r="-2089" b="41651"/>
            <a:stretch/>
          </p:blipFill>
          <p:spPr bwMode="auto">
            <a:xfrm>
              <a:off x="6756717" y="4521199"/>
              <a:ext cx="4207192" cy="2336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576704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ullet points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37541395"/>
              </p:ext>
            </p:extLst>
          </p:nvPr>
        </p:nvGraphicFramePr>
        <p:xfrm>
          <a:off x="1960" y="1595"/>
          <a:ext cx="1953"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p:cNvPicPr/>
                      <p:nvPr/>
                    </p:nvPicPr>
                    <p:blipFill>
                      <a:blip r:embed="rId4"/>
                      <a:stretch>
                        <a:fillRect/>
                      </a:stretch>
                    </p:blipFill>
                    <p:spPr>
                      <a:xfrm>
                        <a:off x="1960" y="1595"/>
                        <a:ext cx="1953" cy="1587"/>
                      </a:xfrm>
                      <a:prstGeom prst="rect">
                        <a:avLst/>
                      </a:prstGeom>
                    </p:spPr>
                  </p:pic>
                </p:oleObj>
              </mc:Fallback>
            </mc:AlternateContent>
          </a:graphicData>
        </a:graphic>
      </p:graphicFrame>
      <p:sp>
        <p:nvSpPr>
          <p:cNvPr id="7" name="Slide Number Placeholder 6"/>
          <p:cNvSpPr>
            <a:spLocks noGrp="1"/>
          </p:cNvSpPr>
          <p:nvPr>
            <p:ph type="sldNum" sz="quarter" idx="12"/>
          </p:nvPr>
        </p:nvSpPr>
        <p:spPr>
          <a:xfrm>
            <a:off x="734648" y="6669088"/>
            <a:ext cx="1099893" cy="188912"/>
          </a:xfrm>
        </p:spPr>
        <p:txBody>
          <a:bodyPr/>
          <a:lstStyle/>
          <a:p>
            <a:fld id="{10909890-F8C3-400A-8C8A-FCCAD85E9D1A}" type="slidenum">
              <a:rPr lang="en-US" smtClean="0"/>
              <a:t>‹#›</a:t>
            </a:fld>
            <a:endParaRPr lang="en-US"/>
          </a:p>
        </p:txBody>
      </p:sp>
      <p:sp>
        <p:nvSpPr>
          <p:cNvPr id="10" name="Content Placeholder 2"/>
          <p:cNvSpPr>
            <a:spLocks noGrp="1"/>
          </p:cNvSpPr>
          <p:nvPr>
            <p:ph sz="half" idx="1" hasCustomPrompt="1"/>
          </p:nvPr>
        </p:nvSpPr>
        <p:spPr>
          <a:xfrm>
            <a:off x="734647" y="1628777"/>
            <a:ext cx="10722711" cy="4770439"/>
          </a:xfrm>
        </p:spPr>
        <p:txBody>
          <a:bodyPr>
            <a:noAutofit/>
          </a:bodyPr>
          <a:lstStyle>
            <a:lvl1pPr marL="166158" indent="-166158">
              <a:spcBef>
                <a:spcPts val="1108"/>
              </a:spcBef>
              <a:spcAft>
                <a:spcPts val="0"/>
              </a:spcAft>
              <a:buFont typeface="Wingdings" panose="05000000000000000000" pitchFamily="2" charset="2"/>
              <a:buChar char="§"/>
              <a:defRPr sz="1477" baseline="0"/>
            </a:lvl1pPr>
            <a:lvl2pPr marL="332316" indent="-166158">
              <a:spcBef>
                <a:spcPts val="1108"/>
              </a:spcBef>
              <a:spcAft>
                <a:spcPts val="0"/>
              </a:spcAft>
              <a:buFont typeface="Wingdings" panose="05000000000000000000" pitchFamily="2" charset="2"/>
              <a:buChar char="§"/>
              <a:defRPr sz="1477" baseline="0"/>
            </a:lvl2pPr>
            <a:lvl3pPr marL="498474" indent="-166158">
              <a:spcBef>
                <a:spcPts val="1108"/>
              </a:spcBef>
              <a:spcAft>
                <a:spcPts val="0"/>
              </a:spcAft>
              <a:buFont typeface="Wingdings" panose="05000000000000000000" pitchFamily="2" charset="2"/>
              <a:buChar char="§"/>
              <a:tabLst>
                <a:tab pos="247657" algn="l"/>
              </a:tabLst>
              <a:defRPr sz="1477" baseline="0"/>
            </a:lvl3pPr>
            <a:lvl4pPr marL="329720" indent="-82064">
              <a:spcBef>
                <a:spcPts val="554"/>
              </a:spcBef>
              <a:spcAft>
                <a:spcPts val="0"/>
              </a:spcAft>
              <a:defRPr sz="1292"/>
            </a:lvl4pPr>
            <a:lvl5pPr marL="411784" indent="-82064">
              <a:spcBef>
                <a:spcPts val="554"/>
              </a:spcBef>
              <a:spcAft>
                <a:spcPts val="0"/>
              </a:spcAft>
              <a:defRPr sz="1292"/>
            </a:lvl5pPr>
          </a:lstStyle>
          <a:p>
            <a:pPr lvl="0"/>
            <a:r>
              <a:rPr lang="en-US"/>
              <a:t>First level</a:t>
            </a:r>
          </a:p>
          <a:p>
            <a:pPr lvl="0"/>
            <a:r>
              <a:rPr lang="en-US"/>
              <a:t>First level</a:t>
            </a:r>
          </a:p>
          <a:p>
            <a:pPr lvl="1"/>
            <a:r>
              <a:rPr lang="en-US"/>
              <a:t>Second level</a:t>
            </a:r>
          </a:p>
          <a:p>
            <a:pPr lvl="1"/>
            <a:r>
              <a:rPr lang="en-US"/>
              <a:t>Second level</a:t>
            </a:r>
          </a:p>
          <a:p>
            <a:pPr lvl="2"/>
            <a:r>
              <a:rPr lang="en-US"/>
              <a:t>Third level</a:t>
            </a:r>
          </a:p>
          <a:p>
            <a:pPr lvl="2"/>
            <a:r>
              <a:rPr lang="en-US"/>
              <a:t>Third level</a:t>
            </a:r>
          </a:p>
        </p:txBody>
      </p:sp>
      <p:sp>
        <p:nvSpPr>
          <p:cNvPr id="18" name="Text Placeholder 11"/>
          <p:cNvSpPr>
            <a:spLocks noGrp="1"/>
          </p:cNvSpPr>
          <p:nvPr>
            <p:ph type="body" sz="quarter" idx="15" hasCustomPrompt="1"/>
          </p:nvPr>
        </p:nvSpPr>
        <p:spPr>
          <a:xfrm>
            <a:off x="734647" y="1224006"/>
            <a:ext cx="10722711" cy="404775"/>
          </a:xfrm>
        </p:spPr>
        <p:txBody>
          <a:bodyPr vert="horz" lIns="0" tIns="0" rIns="0" bIns="0" rtlCol="0" anchor="t">
            <a:noAutofit/>
          </a:bodyPr>
          <a:lstStyle>
            <a:lvl1pPr marL="211021" indent="-211021">
              <a:buNone/>
              <a:defRPr lang="en-US" sz="1661" dirty="0">
                <a:solidFill>
                  <a:schemeClr val="accent3"/>
                </a:solidFill>
              </a:defRPr>
            </a:lvl1pPr>
          </a:lstStyle>
          <a:p>
            <a:pPr marL="0" lvl="0" indent="0">
              <a:spcAft>
                <a:spcPts val="461"/>
              </a:spcAft>
            </a:pPr>
            <a:r>
              <a:rPr lang="en-US"/>
              <a:t>Subtitle</a:t>
            </a:r>
          </a:p>
        </p:txBody>
      </p:sp>
      <p:sp>
        <p:nvSpPr>
          <p:cNvPr id="19" name="Text Placeholder 2"/>
          <p:cNvSpPr>
            <a:spLocks noGrp="1"/>
          </p:cNvSpPr>
          <p:nvPr>
            <p:ph type="body" sz="quarter" idx="17" hasCustomPrompt="1"/>
          </p:nvPr>
        </p:nvSpPr>
        <p:spPr>
          <a:xfrm>
            <a:off x="734648" y="157652"/>
            <a:ext cx="804707" cy="170496"/>
          </a:xfrm>
        </p:spPr>
        <p:txBody>
          <a:bodyPr wrap="none">
            <a:spAutoFit/>
          </a:bodyPr>
          <a:lstStyle>
            <a:lvl1pPr marL="0" indent="0">
              <a:buNone/>
              <a:defRPr lang="en-US" sz="1108" kern="1200" smtClean="0">
                <a:solidFill>
                  <a:schemeClr val="accent3"/>
                </a:solidFill>
                <a:latin typeface="+mn-lt"/>
                <a:ea typeface="+mn-ea"/>
                <a:cs typeface="+mn-cs"/>
              </a:defRPr>
            </a:lvl1pPr>
            <a:lvl2pPr marL="422042" indent="0">
              <a:buNone/>
              <a:defRPr lang="en-US" sz="1108" kern="1200" smtClean="0">
                <a:solidFill>
                  <a:schemeClr val="accent3"/>
                </a:solidFill>
                <a:latin typeface="+mn-lt"/>
                <a:ea typeface="+mn-ea"/>
                <a:cs typeface="+mn-cs"/>
              </a:defRPr>
            </a:lvl2pPr>
            <a:lvl3pPr marL="844083" indent="0">
              <a:buNone/>
              <a:defRPr lang="en-US" sz="1108" kern="1200" smtClean="0">
                <a:solidFill>
                  <a:schemeClr val="accent3"/>
                </a:solidFill>
                <a:latin typeface="+mn-lt"/>
                <a:ea typeface="+mn-ea"/>
                <a:cs typeface="+mn-cs"/>
              </a:defRPr>
            </a:lvl3pPr>
            <a:lvl4pPr marL="1266124" indent="0">
              <a:buNone/>
              <a:defRPr lang="en-US" sz="1108" kern="1200" smtClean="0">
                <a:solidFill>
                  <a:schemeClr val="accent3"/>
                </a:solidFill>
                <a:latin typeface="+mn-lt"/>
                <a:ea typeface="+mn-ea"/>
                <a:cs typeface="+mn-cs"/>
              </a:defRPr>
            </a:lvl4pPr>
            <a:lvl5pPr marL="1688165" indent="0">
              <a:buNone/>
              <a:defRPr lang="en-GB" sz="1108" kern="1200" dirty="0">
                <a:solidFill>
                  <a:schemeClr val="accent3"/>
                </a:solidFill>
                <a:latin typeface="+mn-lt"/>
                <a:ea typeface="+mn-ea"/>
                <a:cs typeface="+mn-cs"/>
              </a:defRPr>
            </a:lvl5pPr>
          </a:lstStyle>
          <a:p>
            <a:pPr lvl="0"/>
            <a:r>
              <a:rPr lang="en-US"/>
              <a:t>Chapter title</a:t>
            </a:r>
          </a:p>
        </p:txBody>
      </p:sp>
      <p:sp>
        <p:nvSpPr>
          <p:cNvPr id="20" name="Text Placeholder 2"/>
          <p:cNvSpPr>
            <a:spLocks noGrp="1"/>
          </p:cNvSpPr>
          <p:nvPr>
            <p:ph type="body" sz="quarter" idx="18" hasCustomPrompt="1"/>
          </p:nvPr>
        </p:nvSpPr>
        <p:spPr>
          <a:xfrm>
            <a:off x="1942158" y="6660841"/>
            <a:ext cx="617157" cy="113749"/>
          </a:xfrm>
        </p:spPr>
        <p:txBody>
          <a:bodyPr wrap="none">
            <a:spAutoFit/>
          </a:bodyPr>
          <a:lstStyle>
            <a:lvl1pPr marL="0" indent="0">
              <a:buNone/>
              <a:defRPr lang="en-US" sz="739" kern="1200" baseline="0" smtClean="0">
                <a:solidFill>
                  <a:schemeClr val="accent3"/>
                </a:solidFill>
                <a:latin typeface="+mn-lt"/>
                <a:ea typeface="+mn-ea"/>
                <a:cs typeface="+mn-cs"/>
              </a:defRPr>
            </a:lvl1pPr>
            <a:lvl2pPr marL="422042" indent="0">
              <a:buNone/>
              <a:defRPr lang="en-US" sz="1108" kern="1200" smtClean="0">
                <a:solidFill>
                  <a:schemeClr val="accent3"/>
                </a:solidFill>
                <a:latin typeface="+mn-lt"/>
                <a:ea typeface="+mn-ea"/>
                <a:cs typeface="+mn-cs"/>
              </a:defRPr>
            </a:lvl2pPr>
            <a:lvl3pPr marL="844083" indent="0">
              <a:buNone/>
              <a:defRPr lang="en-US" sz="1108" kern="1200" smtClean="0">
                <a:solidFill>
                  <a:schemeClr val="accent3"/>
                </a:solidFill>
                <a:latin typeface="+mn-lt"/>
                <a:ea typeface="+mn-ea"/>
                <a:cs typeface="+mn-cs"/>
              </a:defRPr>
            </a:lvl3pPr>
            <a:lvl4pPr marL="1266124" indent="0">
              <a:buNone/>
              <a:defRPr lang="en-US" sz="1108" kern="1200" smtClean="0">
                <a:solidFill>
                  <a:schemeClr val="accent3"/>
                </a:solidFill>
                <a:latin typeface="+mn-lt"/>
                <a:ea typeface="+mn-ea"/>
                <a:cs typeface="+mn-cs"/>
              </a:defRPr>
            </a:lvl4pPr>
            <a:lvl5pPr marL="1688165" indent="0">
              <a:buNone/>
              <a:defRPr lang="en-GB" sz="1108" kern="1200" dirty="0">
                <a:solidFill>
                  <a:schemeClr val="accent3"/>
                </a:solidFill>
                <a:latin typeface="+mn-lt"/>
                <a:ea typeface="+mn-ea"/>
                <a:cs typeface="+mn-cs"/>
              </a:defRPr>
            </a:lvl5pPr>
          </a:lstStyle>
          <a:p>
            <a:pPr lvl="0"/>
            <a:r>
              <a:rPr lang="en-US"/>
              <a:t>RHI </a:t>
            </a:r>
            <a:r>
              <a:rPr lang="en-US" err="1"/>
              <a:t>Magnesita</a:t>
            </a:r>
            <a:endParaRPr lang="en-US"/>
          </a:p>
        </p:txBody>
      </p:sp>
      <p:sp>
        <p:nvSpPr>
          <p:cNvPr id="2" name="Title 1"/>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4557439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lumMod val="75000"/>
              <a:lumOff val="2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2" name="Title 1"/>
          <p:cNvSpPr>
            <a:spLocks noGrp="1"/>
          </p:cNvSpPr>
          <p:nvPr>
            <p:ph type="title"/>
          </p:nvPr>
        </p:nvSpPr>
        <p:spPr>
          <a:xfrm>
            <a:off x="609600" y="274638"/>
            <a:ext cx="10972800" cy="628962"/>
          </a:xfrm>
          <a:prstGeom prst="rect">
            <a:avLst/>
          </a:prstGeom>
        </p:spPr>
        <p:txBody>
          <a:bodyPr/>
          <a:lstStyle>
            <a:lvl1pPr>
              <a:defRPr sz="2000">
                <a:latin typeface="+mj-lt"/>
              </a:defRPr>
            </a:lvl1pPr>
          </a:lstStyle>
          <a:p>
            <a:r>
              <a:rPr lang="en-US" dirty="0"/>
              <a:t>Click to edit Master title style</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808080"/>
              </a:solidFill>
            </a:endParaRPr>
          </a:p>
        </p:txBody>
      </p:sp>
      <p:sp>
        <p:nvSpPr>
          <p:cNvPr id="14" name="TextBox 13"/>
          <p:cNvSpPr txBox="1"/>
          <p:nvPr userDrawn="1"/>
        </p:nvSpPr>
        <p:spPr>
          <a:xfrm>
            <a:off x="11481600" y="6516000"/>
            <a:ext cx="603974" cy="227929"/>
          </a:xfrm>
          <a:prstGeom prst="rect">
            <a:avLst/>
          </a:prstGeom>
          <a:noFill/>
        </p:spPr>
        <p:txBody>
          <a:bodyPr wrap="square" lIns="0" rIns="0" rtlCol="0">
            <a:noAutofit/>
          </a:bodyPr>
          <a:lstStyle/>
          <a:p>
            <a:fld id="{4E088A79-16B0-EB47-9803-132C51922F54}" type="slidenum">
              <a:rPr lang="en-US" sz="1000">
                <a:solidFill>
                  <a:srgbClr val="FFFFFF"/>
                </a:solidFill>
              </a:rPr>
              <a:pPr/>
              <a:t>‹#›</a:t>
            </a:fld>
            <a:endParaRPr lang="en-US" sz="1000" dirty="0">
              <a:solidFill>
                <a:srgbClr val="FFFFFF"/>
              </a:solidFill>
            </a:endParaRPr>
          </a:p>
        </p:txBody>
      </p:sp>
      <p:sp>
        <p:nvSpPr>
          <p:cNvPr id="15" name="Footer Placeholder 4"/>
          <p:cNvSpPr txBox="1">
            <a:spLocks/>
          </p:cNvSpPr>
          <p:nvPr userDrawn="1"/>
        </p:nvSpPr>
        <p:spPr>
          <a:xfrm>
            <a:off x="-823200" y="6516000"/>
            <a:ext cx="4579200" cy="201600"/>
          </a:xfrm>
          <a:prstGeom prst="rect">
            <a:avLst/>
          </a:prstGeom>
        </p:spPr>
        <p:txBody>
          <a:bodyPr/>
          <a:lstStyle>
            <a:defPPr>
              <a:defRPr lang="en-US"/>
            </a:defPPr>
            <a:lvl1pPr marL="0" algn="ctr" defTabSz="914400" rtl="0" eaLnBrk="1" latinLnBrk="0" hangingPunct="1">
              <a:defRPr sz="900" kern="1200">
                <a:solidFill>
                  <a:schemeClr val="tx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rgbClr val="FFFFFF"/>
                </a:solidFill>
                <a:latin typeface="Arial"/>
              </a:rPr>
              <a:t>Strictly Private &amp; Confidential</a:t>
            </a:r>
          </a:p>
        </p:txBody>
      </p:sp>
      <p:grpSp>
        <p:nvGrpSpPr>
          <p:cNvPr id="16" name="Group 15"/>
          <p:cNvGrpSpPr/>
          <p:nvPr userDrawn="1"/>
        </p:nvGrpSpPr>
        <p:grpSpPr bwMode="gray">
          <a:xfrm>
            <a:off x="243285" y="6465868"/>
            <a:ext cx="366315" cy="204787"/>
            <a:chOff x="8348663" y="6450013"/>
            <a:chExt cx="338137" cy="204787"/>
          </a:xfrm>
          <a:solidFill>
            <a:srgbClr val="808080"/>
          </a:solidFill>
        </p:grpSpPr>
        <p:sp>
          <p:nvSpPr>
            <p:cNvPr id="17"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8"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25227850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669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272736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spTree>
    <p:extLst>
      <p:ext uri="{BB962C8B-B14F-4D97-AF65-F5344CB8AC3E}">
        <p14:creationId xmlns:p14="http://schemas.microsoft.com/office/powerpoint/2010/main" val="2584587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793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935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 0 All White">
    <p:bg>
      <p:bgRef idx="1001">
        <a:schemeClr val="bg2"/>
      </p:bgRef>
    </p:bg>
    <p:spTree>
      <p:nvGrpSpPr>
        <p:cNvPr id="1" name=""/>
        <p:cNvGrpSpPr/>
        <p:nvPr/>
      </p:nvGrpSpPr>
      <p:grpSpPr>
        <a:xfrm>
          <a:off x="0" y="0"/>
          <a:ext cx="0" cy="0"/>
          <a:chOff x="0" y="0"/>
          <a:chExt cx="0" cy="0"/>
        </a:xfrm>
      </p:grpSpPr>
      <p:pic>
        <p:nvPicPr>
          <p:cNvPr id="5" name="Imagen 3">
            <a:extLst>
              <a:ext uri="{FF2B5EF4-FFF2-40B4-BE49-F238E27FC236}">
                <a16:creationId xmlns:a16="http://schemas.microsoft.com/office/drawing/2014/main" id="{CB1DA858-745B-4032-8500-4145C75561B9}"/>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pic>
        <p:nvPicPr>
          <p:cNvPr id="6" name="Picture 4" descr="Nelson Mandela, South Africa&amp;#39;s first black president in history, dies at 95">
            <a:extLst>
              <a:ext uri="{FF2B5EF4-FFF2-40B4-BE49-F238E27FC236}">
                <a16:creationId xmlns:a16="http://schemas.microsoft.com/office/drawing/2014/main" id="{0CE0486E-3187-4A07-9E57-70EF6DECE6D4}"/>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13809" t="-4685" r="-2712" b="4780"/>
          <a:stretch/>
        </p:blipFill>
        <p:spPr bwMode="auto">
          <a:xfrm>
            <a:off x="1" y="-305148"/>
            <a:ext cx="10769599" cy="7130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3155288"/>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343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446075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580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617988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pic>
        <p:nvPicPr>
          <p:cNvPr id="8" name="Picture 4">
            <a:extLst>
              <a:ext uri="{FF2B5EF4-FFF2-40B4-BE49-F238E27FC236}">
                <a16:creationId xmlns:a16="http://schemas.microsoft.com/office/drawing/2014/main" id="{B4EA689D-80F7-4CD1-B2F1-CAEA0F17213D}"/>
              </a:ext>
            </a:extLst>
          </p:cNvPr>
          <p:cNvPicPr>
            <a:picLocks noChangeAspect="1" noChangeArrowheads="1"/>
          </p:cNvPicPr>
          <p:nvPr userDrawn="1"/>
        </p:nvPicPr>
        <p:blipFill>
          <a:blip r:embed="rId4">
            <a:alphaModFix amt="4000"/>
            <a:extLst>
              <a:ext uri="{28A0092B-C50C-407E-A947-70E740481C1C}">
                <a14:useLocalDpi xmlns:a14="http://schemas.microsoft.com/office/drawing/2010/main" val="0"/>
              </a:ext>
            </a:extLst>
          </a:blip>
          <a:srcRect/>
          <a:stretch>
            <a:fillRect/>
          </a:stretch>
        </p:blipFill>
        <p:spPr bwMode="auto">
          <a:xfrm>
            <a:off x="3102544" y="0"/>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C76B4DBF-9FB2-49CD-9916-3E041CA5728D}"/>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29671"/>
          <a:stretch/>
        </p:blipFill>
        <p:spPr bwMode="auto">
          <a:xfrm>
            <a:off x="-1" y="0"/>
            <a:ext cx="3429803"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8373B186-8D07-4B83-86BE-C88123E30371}"/>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13619"/>
          <a:stretch/>
        </p:blipFill>
        <p:spPr bwMode="auto">
          <a:xfrm>
            <a:off x="7979344" y="0"/>
            <a:ext cx="4212656"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8D6260DF-65BA-4B8E-93B3-CC06118EA2D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b="55989"/>
          <a:stretch/>
        </p:blipFill>
        <p:spPr bwMode="auto">
          <a:xfrm>
            <a:off x="-1" y="47117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5B9A083B-30D6-405F-8D76-C6762C4D1BDA}"/>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535" t="41448" r="-535" b="14541"/>
          <a:stretch/>
        </p:blipFill>
        <p:spPr bwMode="auto">
          <a:xfrm>
            <a:off x="4876799" y="48768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0D8FEBFE-B555-4112-981D-BB471C6AA65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53059" b="55989"/>
          <a:stretch/>
        </p:blipFill>
        <p:spPr bwMode="auto">
          <a:xfrm>
            <a:off x="9902791" y="4711700"/>
            <a:ext cx="2289209" cy="214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1398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6"/>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98" imgH="499" progId="TCLayout.ActiveDocument.1">
                  <p:embed/>
                </p:oleObj>
              </mc:Choice>
              <mc:Fallback>
                <p:oleObj name="think-cell Slide" r:id="rId18"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7"/>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3246918"/>
      </p:ext>
    </p:extLst>
  </p:cSld>
  <p:clrMap bg1="lt1" tx1="dk1" bg2="lt2" tx2="dk2" accent1="accent1" accent2="accent2" accent3="accent3" accent4="accent4" accent5="accent5" accent6="accent6" hlink="hlink" folHlink="folHlink"/>
  <p:sldLayoutIdLst>
    <p:sldLayoutId id="2147483712" r:id="rId1"/>
    <p:sldLayoutId id="2147483670" r:id="rId2"/>
    <p:sldLayoutId id="2147483699" r:id="rId3"/>
    <p:sldLayoutId id="2147483711" r:id="rId4"/>
    <p:sldLayoutId id="2147483985" r:id="rId5"/>
    <p:sldLayoutId id="2147484017" r:id="rId6"/>
    <p:sldLayoutId id="2147483986" r:id="rId7"/>
    <p:sldLayoutId id="2147484018" r:id="rId8"/>
    <p:sldLayoutId id="2147484021" r:id="rId9"/>
    <p:sldLayoutId id="2147483987" r:id="rId10"/>
    <p:sldLayoutId id="2147484020" r:id="rId11"/>
    <p:sldLayoutId id="2147483991" r:id="rId12"/>
    <p:sldLayoutId id="2147484019" r:id="rId13"/>
    <p:sldLayoutId id="2147484022" r:id="rId14"/>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2.sv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4.sv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B93BF36-213B-47FF-AD74-12BD8DA044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Marcador de texto 5">
            <a:extLst>
              <a:ext uri="{FF2B5EF4-FFF2-40B4-BE49-F238E27FC236}">
                <a16:creationId xmlns:a16="http://schemas.microsoft.com/office/drawing/2014/main" id="{4F9DB30C-B311-4C6B-A32E-4858E3288E77}"/>
              </a:ext>
            </a:extLst>
          </p:cNvPr>
          <p:cNvSpPr txBox="1">
            <a:spLocks/>
          </p:cNvSpPr>
          <p:nvPr/>
        </p:nvSpPr>
        <p:spPr>
          <a:xfrm>
            <a:off x="751791" y="2167546"/>
            <a:ext cx="10413514" cy="4064812"/>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s-ES_tradnl" sz="4400" cap="all">
                <a:solidFill>
                  <a:srgbClr val="453192"/>
                </a:solidFill>
                <a:latin typeface="Arial"/>
                <a:cs typeface="Arial"/>
              </a:rPr>
              <a:t>CHALLENGE</a:t>
            </a:r>
          </a:p>
          <a:p>
            <a:r>
              <a:rPr lang="es-ES_tradnl" sz="4800" cap="all" err="1">
                <a:solidFill>
                  <a:srgbClr val="453192"/>
                </a:solidFill>
                <a:highlight>
                  <a:srgbClr val="FFFFFF"/>
                </a:highlight>
                <a:latin typeface="Arial"/>
                <a:cs typeface="Arial"/>
              </a:rPr>
              <a:t>Growing</a:t>
            </a:r>
            <a:r>
              <a:rPr lang="es-ES_tradnl" sz="4800" cap="all">
                <a:solidFill>
                  <a:srgbClr val="453192"/>
                </a:solidFill>
                <a:highlight>
                  <a:srgbClr val="FFFFFF"/>
                </a:highlight>
                <a:latin typeface="Arial"/>
                <a:cs typeface="Arial"/>
              </a:rPr>
              <a:t> </a:t>
            </a:r>
            <a:r>
              <a:rPr lang="es-ES_tradnl" sz="4800" cap="all" err="1">
                <a:solidFill>
                  <a:srgbClr val="453192"/>
                </a:solidFill>
                <a:highlight>
                  <a:srgbClr val="FFFFFF"/>
                </a:highlight>
                <a:latin typeface="Arial"/>
                <a:cs typeface="Arial"/>
              </a:rPr>
              <a:t>together</a:t>
            </a:r>
            <a:r>
              <a:rPr lang="es-ES_tradnl" sz="4800" cap="all">
                <a:solidFill>
                  <a:srgbClr val="453192"/>
                </a:solidFill>
                <a:highlight>
                  <a:srgbClr val="FFFFFF"/>
                </a:highlight>
                <a:latin typeface="Arial"/>
                <a:cs typeface="Arial"/>
              </a:rPr>
              <a:t> in </a:t>
            </a:r>
            <a:r>
              <a:rPr lang="es-ES_tradnl" sz="4800" cap="all" err="1">
                <a:solidFill>
                  <a:srgbClr val="453192"/>
                </a:solidFill>
                <a:highlight>
                  <a:srgbClr val="FFFFFF"/>
                </a:highlight>
                <a:latin typeface="Arial"/>
                <a:cs typeface="Arial"/>
              </a:rPr>
              <a:t>the</a:t>
            </a:r>
            <a:r>
              <a:rPr lang="es-ES_tradnl" sz="4800" cap="all">
                <a:solidFill>
                  <a:srgbClr val="453192"/>
                </a:solidFill>
                <a:highlight>
                  <a:srgbClr val="FFFFFF"/>
                </a:highlight>
                <a:latin typeface="Arial"/>
                <a:cs typeface="Arial"/>
              </a:rPr>
              <a:t> </a:t>
            </a:r>
            <a:r>
              <a:rPr lang="es-ES_tradnl" sz="4800" cap="all" err="1">
                <a:solidFill>
                  <a:srgbClr val="453192"/>
                </a:solidFill>
                <a:highlight>
                  <a:srgbClr val="FFFFFF"/>
                </a:highlight>
                <a:latin typeface="Arial"/>
                <a:cs typeface="Arial"/>
              </a:rPr>
              <a:t>americas</a:t>
            </a:r>
            <a:endParaRPr lang="es-ES_tradnl" sz="4800" cap="all">
              <a:solidFill>
                <a:srgbClr val="453192"/>
              </a:solidFill>
              <a:highlight>
                <a:srgbClr val="FFFFFF"/>
              </a:highlight>
              <a:latin typeface="Arial"/>
              <a:cs typeface="Arial"/>
            </a:endParaRPr>
          </a:p>
          <a:p>
            <a:r>
              <a:rPr lang="es-ES_tradnl" b="0" cap="all" err="1">
                <a:solidFill>
                  <a:schemeClr val="bg1"/>
                </a:solidFill>
                <a:latin typeface="Arial"/>
                <a:cs typeface="Arial"/>
              </a:rPr>
              <a:t>Digitalisation</a:t>
            </a:r>
            <a:r>
              <a:rPr lang="es-ES_tradnl" b="0" cap="all">
                <a:solidFill>
                  <a:schemeClr val="bg1"/>
                </a:solidFill>
                <a:latin typeface="Arial"/>
                <a:cs typeface="Arial"/>
              </a:rPr>
              <a:t> </a:t>
            </a:r>
            <a:r>
              <a:rPr lang="es-ES_tradnl" b="0" cap="all" err="1">
                <a:solidFill>
                  <a:schemeClr val="bg1"/>
                </a:solidFill>
                <a:latin typeface="Arial"/>
                <a:cs typeface="Arial"/>
              </a:rPr>
              <a:t>for</a:t>
            </a:r>
            <a:r>
              <a:rPr lang="es-ES_tradnl" b="0" cap="all">
                <a:solidFill>
                  <a:schemeClr val="bg1"/>
                </a:solidFill>
                <a:latin typeface="Arial"/>
                <a:cs typeface="Arial"/>
              </a:rPr>
              <a:t> </a:t>
            </a:r>
            <a:r>
              <a:rPr lang="es-ES_tradnl" b="0" cap="all" err="1">
                <a:solidFill>
                  <a:schemeClr val="bg1"/>
                </a:solidFill>
                <a:latin typeface="Arial"/>
                <a:cs typeface="Arial"/>
              </a:rPr>
              <a:t>international</a:t>
            </a:r>
            <a:r>
              <a:rPr lang="es-ES_tradnl" b="0" cap="all">
                <a:solidFill>
                  <a:schemeClr val="bg1"/>
                </a:solidFill>
                <a:latin typeface="Arial"/>
                <a:cs typeface="Arial"/>
              </a:rPr>
              <a:t> </a:t>
            </a:r>
            <a:r>
              <a:rPr lang="es-ES_tradnl" b="0" cap="all" err="1">
                <a:solidFill>
                  <a:schemeClr val="bg1"/>
                </a:solidFill>
                <a:latin typeface="Arial"/>
                <a:cs typeface="Arial"/>
              </a:rPr>
              <a:t>trade</a:t>
            </a:r>
            <a:r>
              <a:rPr lang="es-ES_tradnl" b="0" cap="all">
                <a:solidFill>
                  <a:schemeClr val="bg1"/>
                </a:solidFill>
                <a:latin typeface="Arial"/>
                <a:cs typeface="Arial"/>
              </a:rPr>
              <a:t> </a:t>
            </a:r>
          </a:p>
          <a:p>
            <a:r>
              <a:rPr lang="es-ES_tradnl" b="0" cap="all" err="1">
                <a:solidFill>
                  <a:schemeClr val="bg1"/>
                </a:solidFill>
                <a:latin typeface="Arial"/>
                <a:cs typeface="Arial"/>
              </a:rPr>
              <a:t>challenge</a:t>
            </a:r>
            <a:endParaRPr lang="en-US" b="0" cap="all">
              <a:solidFill>
                <a:schemeClr val="bg1"/>
              </a:solidFill>
              <a:latin typeface="Arial"/>
              <a:cs typeface="Arial"/>
            </a:endParaRPr>
          </a:p>
          <a:p>
            <a:r>
              <a:rPr lang="es-ES_tradnl" b="0" cap="all">
                <a:solidFill>
                  <a:schemeClr val="bg1"/>
                </a:solidFill>
                <a:latin typeface="Arial"/>
                <a:cs typeface="Arial"/>
              </a:rPr>
              <a:t> </a:t>
            </a:r>
          </a:p>
        </p:txBody>
      </p:sp>
      <p:pic>
        <p:nvPicPr>
          <p:cNvPr id="10" name="Gráfico 9">
            <a:extLst>
              <a:ext uri="{FF2B5EF4-FFF2-40B4-BE49-F238E27FC236}">
                <a16:creationId xmlns:a16="http://schemas.microsoft.com/office/drawing/2014/main" id="{C814B732-139D-411F-B25D-7826D09F8C4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695" y="1010652"/>
            <a:ext cx="2955591" cy="1690939"/>
          </a:xfrm>
          <a:prstGeom prst="rect">
            <a:avLst/>
          </a:prstGeom>
        </p:spPr>
      </p:pic>
      <p:pic>
        <p:nvPicPr>
          <p:cNvPr id="13" name="Picture 6">
            <a:extLst>
              <a:ext uri="{FF2B5EF4-FFF2-40B4-BE49-F238E27FC236}">
                <a16:creationId xmlns:a16="http://schemas.microsoft.com/office/drawing/2014/main" id="{B2FCE2D2-FCC1-4111-8F70-065A2D2577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6225" y="5620207"/>
            <a:ext cx="1388232" cy="587329"/>
          </a:xfrm>
          <a:prstGeom prst="rect">
            <a:avLst/>
          </a:prstGeom>
        </p:spPr>
      </p:pic>
    </p:spTree>
    <p:extLst>
      <p:ext uri="{BB962C8B-B14F-4D97-AF65-F5344CB8AC3E}">
        <p14:creationId xmlns:p14="http://schemas.microsoft.com/office/powerpoint/2010/main" val="1147287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372533" y="547117"/>
            <a:ext cx="11582400"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GROUP CHALLENGE </a:t>
            </a:r>
            <a:r>
              <a:rPr lang="es-CO" sz="4000" b="1" dirty="0">
                <a:solidFill>
                  <a:schemeClr val="bg1"/>
                </a:solidFill>
                <a:latin typeface="Arial" panose="020B0604020202020204" pitchFamily="34" charset="0"/>
                <a:cs typeface="Arial" panose="020B0604020202020204" pitchFamily="34" charset="0"/>
              </a:rPr>
              <a:t>“OPERATING MODEL”</a:t>
            </a:r>
            <a:endParaRPr lang="en-GB" sz="4000" b="1" dirty="0">
              <a:solidFill>
                <a:schemeClr val="bg1"/>
              </a:solidFill>
              <a:latin typeface="Arial" panose="020B0604020202020204" pitchFamily="34" charset="0"/>
              <a:cs typeface="Arial" panose="020B0604020202020204" pitchFamily="34" charset="0"/>
            </a:endParaRPr>
          </a:p>
        </p:txBody>
      </p:sp>
      <p:graphicFrame>
        <p:nvGraphicFramePr>
          <p:cNvPr id="2" name="Table 2">
            <a:extLst>
              <a:ext uri="{FF2B5EF4-FFF2-40B4-BE49-F238E27FC236}">
                <a16:creationId xmlns:a16="http://schemas.microsoft.com/office/drawing/2014/main" id="{90C4ECCF-9B28-475A-8668-643F413BD5F2}"/>
              </a:ext>
            </a:extLst>
          </p:cNvPr>
          <p:cNvGraphicFramePr>
            <a:graphicFrameLocks noGrp="1"/>
          </p:cNvGraphicFramePr>
          <p:nvPr>
            <p:extLst>
              <p:ext uri="{D42A27DB-BD31-4B8C-83A1-F6EECF244321}">
                <p14:modId xmlns:p14="http://schemas.microsoft.com/office/powerpoint/2010/main" val="3469899602"/>
              </p:ext>
            </p:extLst>
          </p:nvPr>
        </p:nvGraphicFramePr>
        <p:xfrm>
          <a:off x="1198033" y="3225919"/>
          <a:ext cx="9795934" cy="3019212"/>
        </p:xfrm>
        <a:graphic>
          <a:graphicData uri="http://schemas.openxmlformats.org/drawingml/2006/table">
            <a:tbl>
              <a:tblPr firstRow="1" bandRow="1">
                <a:tableStyleId>{00A15C55-8517-42AA-B614-E9B94910E393}</a:tableStyleId>
              </a:tblPr>
              <a:tblGrid>
                <a:gridCol w="4897967">
                  <a:extLst>
                    <a:ext uri="{9D8B030D-6E8A-4147-A177-3AD203B41FA5}">
                      <a16:colId xmlns:a16="http://schemas.microsoft.com/office/drawing/2014/main" val="2726736430"/>
                    </a:ext>
                  </a:extLst>
                </a:gridCol>
                <a:gridCol w="4897967">
                  <a:extLst>
                    <a:ext uri="{9D8B030D-6E8A-4147-A177-3AD203B41FA5}">
                      <a16:colId xmlns:a16="http://schemas.microsoft.com/office/drawing/2014/main" val="728345699"/>
                    </a:ext>
                  </a:extLst>
                </a:gridCol>
              </a:tblGrid>
              <a:tr h="431316">
                <a:tc>
                  <a:txBody>
                    <a:bodyPr/>
                    <a:lstStyle/>
                    <a:p>
                      <a:r>
                        <a:rPr lang="es-CO" dirty="0"/>
                        <a:t>Full </a:t>
                      </a:r>
                      <a:r>
                        <a:rPr lang="es-CO" dirty="0" err="1"/>
                        <a:t>name</a:t>
                      </a:r>
                      <a:endParaRPr lang="es-CO" dirty="0"/>
                    </a:p>
                  </a:txBody>
                  <a:tcPr/>
                </a:tc>
                <a:tc>
                  <a:txBody>
                    <a:bodyPr/>
                    <a:lstStyle/>
                    <a:p>
                      <a:r>
                        <a:rPr lang="es-CO" dirty="0"/>
                        <a:t>E-mail</a:t>
                      </a:r>
                    </a:p>
                  </a:txBody>
                  <a:tcPr/>
                </a:tc>
                <a:extLst>
                  <a:ext uri="{0D108BD9-81ED-4DB2-BD59-A6C34878D82A}">
                    <a16:rowId xmlns:a16="http://schemas.microsoft.com/office/drawing/2014/main" val="1227350454"/>
                  </a:ext>
                </a:extLst>
              </a:tr>
              <a:tr h="431316">
                <a:tc>
                  <a:txBody>
                    <a:bodyPr/>
                    <a:lstStyle/>
                    <a:p>
                      <a:endParaRPr lang="es-CO" dirty="0">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1735040114"/>
                  </a:ext>
                </a:extLst>
              </a:tr>
              <a:tr h="431316">
                <a:tc>
                  <a:txBody>
                    <a:bodyPr/>
                    <a:lstStyle/>
                    <a:p>
                      <a:endParaRPr lang="es-CO" dirty="0">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2250299672"/>
                  </a:ext>
                </a:extLst>
              </a:tr>
              <a:tr h="431316">
                <a:tc>
                  <a:txBody>
                    <a:bodyPr/>
                    <a:lstStyle/>
                    <a:p>
                      <a:endParaRPr lang="es-CO" dirty="0">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3285541758"/>
                  </a:ext>
                </a:extLst>
              </a:tr>
              <a:tr h="431316">
                <a:tc>
                  <a:txBody>
                    <a:bodyPr/>
                    <a:lstStyle/>
                    <a:p>
                      <a:endParaRPr lang="es-CO">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4040995841"/>
                  </a:ext>
                </a:extLst>
              </a:tr>
              <a:tr h="431316">
                <a:tc>
                  <a:txBody>
                    <a:bodyPr/>
                    <a:lstStyle/>
                    <a:p>
                      <a:endParaRPr lang="es-CO">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2981588468"/>
                  </a:ext>
                </a:extLst>
              </a:tr>
              <a:tr h="431316">
                <a:tc>
                  <a:txBody>
                    <a:bodyPr/>
                    <a:lstStyle/>
                    <a:p>
                      <a:endParaRPr lang="es-CO" dirty="0">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4284141257"/>
                  </a:ext>
                </a:extLst>
              </a:tr>
            </a:tbl>
          </a:graphicData>
        </a:graphic>
      </p:graphicFrame>
      <p:sp>
        <p:nvSpPr>
          <p:cNvPr id="9" name="TextBox 8">
            <a:extLst>
              <a:ext uri="{FF2B5EF4-FFF2-40B4-BE49-F238E27FC236}">
                <a16:creationId xmlns:a16="http://schemas.microsoft.com/office/drawing/2014/main" id="{C46E46B2-8DA6-4180-BE6E-D6D94C9C18D5}"/>
              </a:ext>
            </a:extLst>
          </p:cNvPr>
          <p:cNvSpPr txBox="1"/>
          <p:nvPr/>
        </p:nvSpPr>
        <p:spPr>
          <a:xfrm>
            <a:off x="639233" y="1611936"/>
            <a:ext cx="10752264" cy="1287532"/>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solidFill>
                  <a:schemeClr val="bg1"/>
                </a:solidFill>
                <a:latin typeface="Arial" panose="020B0604020202020204" pitchFamily="34" charset="0"/>
                <a:cs typeface="Arial" panose="020B0604020202020204" pitchFamily="34" charset="0"/>
              </a:rPr>
              <a:t>In the table below, please enter the </a:t>
            </a:r>
            <a:r>
              <a:rPr lang="en-US" b="1" dirty="0">
                <a:solidFill>
                  <a:schemeClr val="bg1"/>
                </a:solidFill>
                <a:highlight>
                  <a:srgbClr val="EA3A55"/>
                </a:highlight>
                <a:latin typeface="Arial" panose="020B0604020202020204" pitchFamily="34" charset="0"/>
                <a:cs typeface="Arial" panose="020B0604020202020204" pitchFamily="34" charset="0"/>
              </a:rPr>
              <a:t>names</a:t>
            </a:r>
            <a:r>
              <a:rPr lang="en-US" dirty="0">
                <a:solidFill>
                  <a:schemeClr val="bg1"/>
                </a:solidFill>
                <a:latin typeface="Arial" panose="020B0604020202020204" pitchFamily="34" charset="0"/>
                <a:cs typeface="Arial" panose="020B0604020202020204" pitchFamily="34" charset="0"/>
              </a:rPr>
              <a:t> and </a:t>
            </a:r>
            <a:r>
              <a:rPr lang="en-US" b="1" dirty="0">
                <a:solidFill>
                  <a:schemeClr val="bg1"/>
                </a:solidFill>
                <a:highlight>
                  <a:srgbClr val="EA3A55"/>
                </a:highlight>
                <a:latin typeface="Arial" panose="020B0604020202020204" pitchFamily="34" charset="0"/>
                <a:cs typeface="Arial" panose="020B0604020202020204" pitchFamily="34" charset="0"/>
              </a:rPr>
              <a:t>email addresses</a:t>
            </a:r>
            <a:r>
              <a:rPr lang="en-US" dirty="0">
                <a:solidFill>
                  <a:schemeClr val="bg1"/>
                </a:solidFill>
                <a:latin typeface="Arial" panose="020B0604020202020204" pitchFamily="34" charset="0"/>
                <a:cs typeface="Arial" panose="020B0604020202020204" pitchFamily="34" charset="0"/>
              </a:rPr>
              <a:t> of the group members.</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solidFill>
                  <a:schemeClr val="bg1"/>
                </a:solidFill>
                <a:latin typeface="Arial" panose="020B0604020202020204" pitchFamily="34" charset="0"/>
                <a:cs typeface="Arial" panose="020B0604020202020204" pitchFamily="34" charset="0"/>
              </a:rPr>
              <a:t>This information will be used to upload the challenge score to the </a:t>
            </a:r>
            <a:r>
              <a:rPr lang="en-US" dirty="0" err="1">
                <a:solidFill>
                  <a:schemeClr val="bg1"/>
                </a:solidFill>
                <a:latin typeface="Arial" panose="020B0604020202020204" pitchFamily="34" charset="0"/>
                <a:cs typeface="Arial" panose="020B0604020202020204" pitchFamily="34" charset="0"/>
              </a:rPr>
              <a:t>ConnectAmericas</a:t>
            </a:r>
            <a:r>
              <a:rPr lang="en-US" dirty="0">
                <a:solidFill>
                  <a:schemeClr val="bg1"/>
                </a:solidFill>
                <a:latin typeface="Arial" panose="020B0604020202020204" pitchFamily="34" charset="0"/>
                <a:cs typeface="Arial" panose="020B0604020202020204" pitchFamily="34" charset="0"/>
              </a:rPr>
              <a:t> Academy, so it is very important that you enter the </a:t>
            </a:r>
            <a:r>
              <a:rPr lang="en-US" b="1" dirty="0">
                <a:solidFill>
                  <a:schemeClr val="bg1"/>
                </a:solidFill>
                <a:latin typeface="Arial" panose="020B0604020202020204" pitchFamily="34" charset="0"/>
                <a:cs typeface="Arial" panose="020B0604020202020204" pitchFamily="34" charset="0"/>
              </a:rPr>
              <a:t>data exactly as it is in the Academy</a:t>
            </a:r>
            <a:r>
              <a:rPr lang="en-US" dirty="0">
                <a:solidFill>
                  <a:schemeClr val="bg1"/>
                </a:solidFill>
                <a:latin typeface="Arial" panose="020B0604020202020204" pitchFamily="34" charset="0"/>
                <a:cs typeface="Arial" panose="020B0604020202020204" pitchFamily="34" charset="0"/>
              </a:rPr>
              <a:t>. </a:t>
            </a:r>
            <a:endParaRPr lang="en-GB"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765680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INSTRUCTIONS</a:t>
            </a:r>
            <a:endParaRPr lang="en-GB" sz="4000" b="1" dirty="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46E46B2-8DA6-4180-BE6E-D6D94C9C18D5}"/>
              </a:ext>
            </a:extLst>
          </p:cNvPr>
          <p:cNvSpPr txBox="1"/>
          <p:nvPr/>
        </p:nvSpPr>
        <p:spPr>
          <a:xfrm>
            <a:off x="639233" y="1437460"/>
            <a:ext cx="10752264" cy="1287532"/>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solidFill>
                  <a:schemeClr val="bg1"/>
                </a:solidFill>
                <a:latin typeface="Arial" panose="020B0604020202020204" pitchFamily="34" charset="0"/>
                <a:cs typeface="Arial" panose="020B0604020202020204" pitchFamily="34" charset="0"/>
              </a:rPr>
              <a:t>For this first group challenge, you will have to develop the five dimensions of the </a:t>
            </a:r>
            <a:r>
              <a:rPr lang="en-US" b="1" dirty="0">
                <a:solidFill>
                  <a:schemeClr val="bg1"/>
                </a:solidFill>
                <a:highlight>
                  <a:srgbClr val="EA3A55"/>
                </a:highlight>
                <a:latin typeface="Arial" panose="020B0604020202020204" pitchFamily="34" charset="0"/>
                <a:cs typeface="Arial" panose="020B0604020202020204" pitchFamily="34" charset="0"/>
              </a:rPr>
              <a:t>operating model</a:t>
            </a:r>
            <a:r>
              <a:rPr lang="en-US" dirty="0">
                <a:solidFill>
                  <a:schemeClr val="bg1"/>
                </a:solidFill>
                <a:latin typeface="Arial" panose="020B0604020202020204" pitchFamily="34" charset="0"/>
                <a:cs typeface="Arial" panose="020B0604020202020204" pitchFamily="34" charset="0"/>
              </a:rPr>
              <a:t> for one(1) operating process from the business of </a:t>
            </a:r>
            <a:r>
              <a:rPr lang="en-US" b="1" u="sng" dirty="0">
                <a:solidFill>
                  <a:schemeClr val="bg1"/>
                </a:solidFill>
                <a:latin typeface="Arial" panose="020B0604020202020204" pitchFamily="34" charset="0"/>
                <a:cs typeface="Arial" panose="020B0604020202020204" pitchFamily="34" charset="0"/>
              </a:rPr>
              <a:t>one (1) of the group participants. </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solidFill>
                  <a:schemeClr val="bg1"/>
                </a:solidFill>
                <a:latin typeface="Arial" panose="020B0604020202020204" pitchFamily="34" charset="0"/>
                <a:cs typeface="Arial" panose="020B0604020202020204" pitchFamily="34" charset="0"/>
              </a:rPr>
              <a:t>We encourage you to apply the consulting dynamics set out below:</a:t>
            </a:r>
            <a:endParaRPr lang="en-GB" dirty="0">
              <a:solidFill>
                <a:schemeClr val="bg1"/>
              </a:solidFill>
              <a:latin typeface="Arial" panose="020B060402020202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id="{A807FA6B-29BF-428C-875A-43AB91CF3674}"/>
              </a:ext>
            </a:extLst>
          </p:cNvPr>
          <p:cNvSpPr/>
          <p:nvPr/>
        </p:nvSpPr>
        <p:spPr>
          <a:xfrm>
            <a:off x="986194" y="2875692"/>
            <a:ext cx="10122073" cy="1746676"/>
          </a:xfrm>
          <a:prstGeom prst="round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bg1"/>
              </a:solidFill>
            </a:endParaRPr>
          </a:p>
        </p:txBody>
      </p:sp>
      <p:graphicFrame>
        <p:nvGraphicFramePr>
          <p:cNvPr id="7" name="Table 6">
            <a:extLst>
              <a:ext uri="{FF2B5EF4-FFF2-40B4-BE49-F238E27FC236}">
                <a16:creationId xmlns:a16="http://schemas.microsoft.com/office/drawing/2014/main" id="{C9AC83A0-A20D-4A6B-8729-5097ABD46F34}"/>
              </a:ext>
            </a:extLst>
          </p:cNvPr>
          <p:cNvGraphicFramePr>
            <a:graphicFrameLocks noGrp="1"/>
          </p:cNvGraphicFramePr>
          <p:nvPr>
            <p:extLst>
              <p:ext uri="{D42A27DB-BD31-4B8C-83A1-F6EECF244321}">
                <p14:modId xmlns:p14="http://schemas.microsoft.com/office/powerpoint/2010/main" val="1178741732"/>
              </p:ext>
            </p:extLst>
          </p:nvPr>
        </p:nvGraphicFramePr>
        <p:xfrm>
          <a:off x="1479378" y="2875538"/>
          <a:ext cx="9482666" cy="1798320"/>
        </p:xfrm>
        <a:graphic>
          <a:graphicData uri="http://schemas.openxmlformats.org/drawingml/2006/table">
            <a:tbl>
              <a:tblPr firstRow="1" bandRow="1">
                <a:tableStyleId>{5C22544A-7EE6-4342-B048-85BDC9FD1C3A}</a:tableStyleId>
              </a:tblPr>
              <a:tblGrid>
                <a:gridCol w="9482666">
                  <a:extLst>
                    <a:ext uri="{9D8B030D-6E8A-4147-A177-3AD203B41FA5}">
                      <a16:colId xmlns:a16="http://schemas.microsoft.com/office/drawing/2014/main" val="3451321742"/>
                    </a:ext>
                  </a:extLst>
                </a:gridCol>
              </a:tblGrid>
              <a:tr h="370840">
                <a:tc>
                  <a:txBody>
                    <a:bodyPr/>
                    <a:lstStyle/>
                    <a:p>
                      <a:r>
                        <a:rPr lang="es-CO" sz="1600" dirty="0" err="1">
                          <a:solidFill>
                            <a:schemeClr val="bg1"/>
                          </a:solidFill>
                          <a:latin typeface="Arial" panose="020B0604020202020204" pitchFamily="34" charset="0"/>
                          <a:cs typeface="Arial" panose="020B0604020202020204" pitchFamily="34" charset="0"/>
                        </a:rPr>
                        <a:t>Consulting</a:t>
                      </a:r>
                      <a:r>
                        <a:rPr lang="es-CO" sz="1600" dirty="0">
                          <a:solidFill>
                            <a:schemeClr val="bg1"/>
                          </a:solidFill>
                          <a:latin typeface="Arial" panose="020B0604020202020204" pitchFamily="34" charset="0"/>
                          <a:cs typeface="Arial" panose="020B0604020202020204" pitchFamily="34" charset="0"/>
                        </a:rPr>
                        <a:t> </a:t>
                      </a:r>
                      <a:r>
                        <a:rPr lang="es-CO" sz="1600" dirty="0" err="1">
                          <a:solidFill>
                            <a:schemeClr val="bg1"/>
                          </a:solidFill>
                          <a:latin typeface="Arial" panose="020B0604020202020204" pitchFamily="34" charset="0"/>
                          <a:cs typeface="Arial" panose="020B0604020202020204" pitchFamily="34" charset="0"/>
                        </a:rPr>
                        <a:t>dynamics</a:t>
                      </a:r>
                      <a:r>
                        <a:rPr lang="es-CO" sz="1600" dirty="0">
                          <a:solidFill>
                            <a:schemeClr val="bg1"/>
                          </a:solidFill>
                          <a:latin typeface="Arial" panose="020B0604020202020204" pitchFamily="34" charset="0"/>
                          <a:cs typeface="Arial" panose="020B0604020202020204" pitchFamily="34" charset="0"/>
                        </a:rPr>
                        <a:t>:  </a:t>
                      </a:r>
                    </a:p>
                    <a:p>
                      <a:pPr marL="171450" indent="-171450">
                        <a:buFont typeface="Wingdings" panose="05000000000000000000" pitchFamily="2" charset="2"/>
                        <a:buChar char="§"/>
                      </a:pPr>
                      <a:r>
                        <a:rPr lang="en-US" sz="1600" b="0" dirty="0">
                          <a:solidFill>
                            <a:schemeClr val="bg1"/>
                          </a:solidFill>
                          <a:latin typeface="Arial" panose="020B0604020202020204" pitchFamily="34" charset="0"/>
                          <a:cs typeface="Arial" panose="020B0604020202020204" pitchFamily="34" charset="0"/>
                        </a:rPr>
                        <a:t>The participant representing the selected business will have the role of “Director of the operational process".</a:t>
                      </a:r>
                    </a:p>
                    <a:p>
                      <a:pPr marL="171450" indent="-171450">
                        <a:buFont typeface="Wingdings" panose="05000000000000000000" pitchFamily="2" charset="2"/>
                        <a:buChar char="§"/>
                      </a:pPr>
                      <a:r>
                        <a:rPr lang="en-US" sz="1600" b="0" dirty="0">
                          <a:solidFill>
                            <a:schemeClr val="bg1"/>
                          </a:solidFill>
                          <a:latin typeface="Arial" panose="020B0604020202020204" pitchFamily="34" charset="0"/>
                          <a:cs typeface="Arial" panose="020B0604020202020204" pitchFamily="34" charset="0"/>
                        </a:rPr>
                        <a:t>The remaining businesswomen will act as "consultants".</a:t>
                      </a:r>
                    </a:p>
                    <a:p>
                      <a:pPr marL="171450" indent="-171450">
                        <a:buFont typeface="Wingdings" panose="05000000000000000000" pitchFamily="2" charset="2"/>
                        <a:buChar char="§"/>
                      </a:pPr>
                      <a:r>
                        <a:rPr lang="en-US" sz="1600" b="0" dirty="0">
                          <a:solidFill>
                            <a:schemeClr val="bg1"/>
                          </a:solidFill>
                          <a:latin typeface="Arial" panose="020B0604020202020204" pitchFamily="34" charset="0"/>
                          <a:cs typeface="Arial" panose="020B0604020202020204" pitchFamily="34" charset="0"/>
                        </a:rPr>
                        <a:t>The activity consists of the "client" presenting the state of their business based on the requirements of the tool, while the consultants ask key questions that enrich the client's business and broaden the group's knowledge.</a:t>
                      </a:r>
                      <a:endParaRPr lang="es-CO" sz="1600" b="0" dirty="0">
                        <a:solidFill>
                          <a:schemeClr val="bg1"/>
                        </a:solidFill>
                        <a:latin typeface="Arial" panose="020B0604020202020204" pitchFamily="34" charset="0"/>
                        <a:cs typeface="Arial" panose="020B0604020202020204" pitchFamily="34" charset="0"/>
                      </a:endParaRPr>
                    </a:p>
                  </a:txBody>
                  <a:tcPr>
                    <a:lnL w="2857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83950455"/>
                  </a:ext>
                </a:extLst>
              </a:tr>
            </a:tbl>
          </a:graphicData>
        </a:graphic>
      </p:graphicFrame>
      <p:pic>
        <p:nvPicPr>
          <p:cNvPr id="8" name="Gráfico 2">
            <a:extLst>
              <a:ext uri="{FF2B5EF4-FFF2-40B4-BE49-F238E27FC236}">
                <a16:creationId xmlns:a16="http://schemas.microsoft.com/office/drawing/2014/main" id="{75EB8263-EF49-4F0B-A650-51E58D99C9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9233" y="2888925"/>
            <a:ext cx="693923" cy="677659"/>
          </a:xfrm>
          <a:prstGeom prst="rect">
            <a:avLst/>
          </a:prstGeom>
        </p:spPr>
      </p:pic>
      <p:sp>
        <p:nvSpPr>
          <p:cNvPr id="10" name="TextBox 9">
            <a:extLst>
              <a:ext uri="{FF2B5EF4-FFF2-40B4-BE49-F238E27FC236}">
                <a16:creationId xmlns:a16="http://schemas.microsoft.com/office/drawing/2014/main" id="{BD334509-8071-4DDA-8AA5-4A11F7D38E21}"/>
              </a:ext>
            </a:extLst>
          </p:cNvPr>
          <p:cNvSpPr txBox="1"/>
          <p:nvPr/>
        </p:nvSpPr>
        <p:spPr>
          <a:xfrm>
            <a:off x="639233" y="4843776"/>
            <a:ext cx="10752264" cy="1703030"/>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solidFill>
                  <a:schemeClr val="bg1"/>
                </a:solidFill>
                <a:latin typeface="Arial" panose="020B0604020202020204" pitchFamily="34" charset="0"/>
                <a:cs typeface="Arial" panose="020B0604020202020204" pitchFamily="34" charset="0"/>
              </a:rPr>
              <a:t>The participant subject of the consultancy will be able to involve more people from her company in the construction of the 5 dimensions of the operating model.</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solidFill>
                  <a:schemeClr val="bg1"/>
                </a:solidFill>
                <a:latin typeface="Arial" panose="020B0604020202020204" pitchFamily="34" charset="0"/>
                <a:cs typeface="Arial" panose="020B0604020202020204" pitchFamily="34" charset="0"/>
              </a:rPr>
              <a:t>The delivery format is free. You can develop the challenge in a digital tool or even manually using post-its. This is a creative exercise, don't limit yourselves!</a:t>
            </a:r>
            <a:endParaRPr lang="es-CO"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8792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E24824E-F86D-4BF1-A73F-457CD5F4A18D}"/>
              </a:ext>
            </a:extLst>
          </p:cNvPr>
          <p:cNvSpPr txBox="1"/>
          <p:nvPr/>
        </p:nvSpPr>
        <p:spPr>
          <a:xfrm>
            <a:off x="639233" y="1415484"/>
            <a:ext cx="11151714" cy="3416320"/>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solidFill>
                  <a:schemeClr val="bg1"/>
                </a:solidFill>
                <a:latin typeface="Arial" panose="020B0604020202020204" pitchFamily="34" charset="0"/>
                <a:cs typeface="Arial" panose="020B0604020202020204" pitchFamily="34" charset="0"/>
              </a:rPr>
              <a:t>For this challenge you have to present an </a:t>
            </a:r>
            <a:r>
              <a:rPr lang="en-US" b="1" dirty="0">
                <a:solidFill>
                  <a:schemeClr val="bg1"/>
                </a:solidFill>
                <a:highlight>
                  <a:srgbClr val="EA3A55"/>
                </a:highlight>
                <a:latin typeface="Arial" panose="020B0604020202020204" pitchFamily="34" charset="0"/>
                <a:cs typeface="Arial" panose="020B0604020202020204" pitchFamily="34" charset="0"/>
              </a:rPr>
              <a:t>operating model </a:t>
            </a:r>
            <a:r>
              <a:rPr lang="en-US" dirty="0">
                <a:solidFill>
                  <a:schemeClr val="bg1"/>
                </a:solidFill>
                <a:latin typeface="Arial" panose="020B0604020202020204" pitchFamily="34" charset="0"/>
                <a:cs typeface="Arial" panose="020B0604020202020204" pitchFamily="34" charset="0"/>
              </a:rPr>
              <a:t>and the </a:t>
            </a:r>
            <a:r>
              <a:rPr lang="en-US" dirty="0" err="1">
                <a:solidFill>
                  <a:schemeClr val="bg1"/>
                </a:solidFill>
                <a:latin typeface="Arial" panose="020B0604020202020204" pitchFamily="34" charset="0"/>
                <a:cs typeface="Arial" panose="020B0604020202020204" pitchFamily="34" charset="0"/>
              </a:rPr>
              <a:t>characterisation</a:t>
            </a:r>
            <a:r>
              <a:rPr lang="en-US" dirty="0">
                <a:solidFill>
                  <a:schemeClr val="bg1"/>
                </a:solidFill>
                <a:latin typeface="Arial" panose="020B0604020202020204" pitchFamily="34" charset="0"/>
                <a:cs typeface="Arial" panose="020B0604020202020204" pitchFamily="34" charset="0"/>
              </a:rPr>
              <a:t> of the </a:t>
            </a:r>
            <a:r>
              <a:rPr lang="en-US" b="1" dirty="0">
                <a:solidFill>
                  <a:schemeClr val="bg1"/>
                </a:solidFill>
                <a:highlight>
                  <a:srgbClr val="EA3A55"/>
                </a:highlight>
                <a:latin typeface="Arial" panose="020B0604020202020204" pitchFamily="34" charset="0"/>
                <a:cs typeface="Arial" panose="020B0604020202020204" pitchFamily="34" charset="0"/>
              </a:rPr>
              <a:t>5 dimensions</a:t>
            </a:r>
            <a:r>
              <a:rPr lang="en-US" dirty="0">
                <a:solidFill>
                  <a:schemeClr val="bg1"/>
                </a:solidFill>
                <a:latin typeface="Arial" panose="020B0604020202020204" pitchFamily="34" charset="0"/>
                <a:cs typeface="Arial" panose="020B0604020202020204" pitchFamily="34" charset="0"/>
              </a:rPr>
              <a:t>. The operating model template can be found on the following pages. </a:t>
            </a:r>
          </a:p>
          <a:p>
            <a:pPr marR="0" lvl="0" defTabSz="914400" rtl="0" eaLnBrk="1" fontAlgn="auto" latinLnBrk="0" hangingPunct="1">
              <a:lnSpc>
                <a:spcPct val="150000"/>
              </a:lnSpc>
              <a:spcBef>
                <a:spcPts val="0"/>
              </a:spcBef>
              <a:spcAft>
                <a:spcPts val="0"/>
              </a:spcAft>
              <a:buClrTx/>
              <a:buSzTx/>
              <a:tabLst/>
              <a:defRPr/>
            </a:pPr>
            <a:endParaRPr lang="en-GB" b="1" dirty="0">
              <a:solidFill>
                <a:schemeClr val="bg1"/>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b="1" dirty="0">
                <a:solidFill>
                  <a:schemeClr val="bg1"/>
                </a:solidFill>
                <a:latin typeface="Arial" panose="020B0604020202020204" pitchFamily="34" charset="0"/>
                <a:cs typeface="Arial" panose="020B0604020202020204" pitchFamily="34" charset="0"/>
              </a:rPr>
              <a:t>Some digital tools that can help you build the customer journey are</a:t>
            </a:r>
            <a:r>
              <a:rPr lang="en-GB" b="1" dirty="0">
                <a:solidFill>
                  <a:schemeClr val="bg1"/>
                </a:solidFill>
                <a:latin typeface="Arial" panose="020B0604020202020204" pitchFamily="34" charset="0"/>
                <a:cs typeface="Arial" panose="020B0604020202020204" pitchFamily="34" charset="0"/>
              </a:rPr>
              <a:t>:</a:t>
            </a:r>
          </a:p>
          <a:p>
            <a:pPr marL="742950" lvl="1" indent="-285750">
              <a:buFont typeface="Arial" panose="020B0604020202020204" pitchFamily="34" charset="0"/>
              <a:buChar char="•"/>
              <a:defRPr/>
            </a:pPr>
            <a:r>
              <a:rPr lang="en-GB" dirty="0" err="1">
                <a:solidFill>
                  <a:schemeClr val="bg1"/>
                </a:solidFill>
                <a:latin typeface="Arial" panose="020B0604020202020204" pitchFamily="34" charset="0"/>
                <a:cs typeface="Arial" panose="020B0604020202020204" pitchFamily="34" charset="0"/>
              </a:rPr>
              <a:t>Lucidchart</a:t>
            </a:r>
            <a:endParaRPr lang="en-GB"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Mural</a:t>
            </a: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Miro</a:t>
            </a: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Sketch</a:t>
            </a: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Adobe XD</a:t>
            </a: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Figma</a:t>
            </a:r>
          </a:p>
        </p:txBody>
      </p:sp>
      <p:sp>
        <p:nvSpPr>
          <p:cNvPr id="12" name="Arrow: Right 11">
            <a:extLst>
              <a:ext uri="{FF2B5EF4-FFF2-40B4-BE49-F238E27FC236}">
                <a16:creationId xmlns:a16="http://schemas.microsoft.com/office/drawing/2014/main" id="{CFF70544-672F-42EA-B13B-30140B1916E6}"/>
              </a:ext>
            </a:extLst>
          </p:cNvPr>
          <p:cNvSpPr/>
          <p:nvPr/>
        </p:nvSpPr>
        <p:spPr>
          <a:xfrm>
            <a:off x="1123078" y="3206549"/>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grpSp>
        <p:nvGrpSpPr>
          <p:cNvPr id="3" name="Group 2">
            <a:extLst>
              <a:ext uri="{FF2B5EF4-FFF2-40B4-BE49-F238E27FC236}">
                <a16:creationId xmlns:a16="http://schemas.microsoft.com/office/drawing/2014/main" id="{D2F2EA5F-49D7-4538-BC25-9B524B7B1F55}"/>
              </a:ext>
            </a:extLst>
          </p:cNvPr>
          <p:cNvGrpSpPr/>
          <p:nvPr/>
        </p:nvGrpSpPr>
        <p:grpSpPr>
          <a:xfrm>
            <a:off x="3475163" y="3429000"/>
            <a:ext cx="7916334" cy="1685634"/>
            <a:chOff x="3475163" y="3429000"/>
            <a:chExt cx="7916334" cy="1685634"/>
          </a:xfrm>
        </p:grpSpPr>
        <p:sp>
          <p:nvSpPr>
            <p:cNvPr id="2" name="Rectangle: Rounded Corners 1">
              <a:extLst>
                <a:ext uri="{FF2B5EF4-FFF2-40B4-BE49-F238E27FC236}">
                  <a16:creationId xmlns:a16="http://schemas.microsoft.com/office/drawing/2014/main" id="{68EA5FB2-E061-4F05-8F80-5F71CF64B337}"/>
                </a:ext>
              </a:extLst>
            </p:cNvPr>
            <p:cNvSpPr/>
            <p:nvPr/>
          </p:nvSpPr>
          <p:spPr>
            <a:xfrm>
              <a:off x="3475163" y="3429000"/>
              <a:ext cx="7916334" cy="1685634"/>
            </a:xfrm>
            <a:custGeom>
              <a:avLst/>
              <a:gdLst>
                <a:gd name="connsiteX0" fmla="*/ 0 w 7916334"/>
                <a:gd name="connsiteY0" fmla="*/ 280945 h 1685634"/>
                <a:gd name="connsiteX1" fmla="*/ 280945 w 7916334"/>
                <a:gd name="connsiteY1" fmla="*/ 0 h 1685634"/>
                <a:gd name="connsiteX2" fmla="*/ 875986 w 7916334"/>
                <a:gd name="connsiteY2" fmla="*/ 0 h 1685634"/>
                <a:gd name="connsiteX3" fmla="*/ 1397483 w 7916334"/>
                <a:gd name="connsiteY3" fmla="*/ 0 h 1685634"/>
                <a:gd name="connsiteX4" fmla="*/ 2066069 w 7916334"/>
                <a:gd name="connsiteY4" fmla="*/ 0 h 1685634"/>
                <a:gd name="connsiteX5" fmla="*/ 2881744 w 7916334"/>
                <a:gd name="connsiteY5" fmla="*/ 0 h 1685634"/>
                <a:gd name="connsiteX6" fmla="*/ 3623874 w 7916334"/>
                <a:gd name="connsiteY6" fmla="*/ 0 h 1685634"/>
                <a:gd name="connsiteX7" fmla="*/ 4292460 w 7916334"/>
                <a:gd name="connsiteY7" fmla="*/ 0 h 1685634"/>
                <a:gd name="connsiteX8" fmla="*/ 4887501 w 7916334"/>
                <a:gd name="connsiteY8" fmla="*/ 0 h 1685634"/>
                <a:gd name="connsiteX9" fmla="*/ 5629632 w 7916334"/>
                <a:gd name="connsiteY9" fmla="*/ 0 h 1685634"/>
                <a:gd name="connsiteX10" fmla="*/ 6371762 w 7916334"/>
                <a:gd name="connsiteY10" fmla="*/ 0 h 1685634"/>
                <a:gd name="connsiteX11" fmla="*/ 7635389 w 7916334"/>
                <a:gd name="connsiteY11" fmla="*/ 0 h 1685634"/>
                <a:gd name="connsiteX12" fmla="*/ 7916334 w 7916334"/>
                <a:gd name="connsiteY12" fmla="*/ 280945 h 1685634"/>
                <a:gd name="connsiteX13" fmla="*/ 7916334 w 7916334"/>
                <a:gd name="connsiteY13" fmla="*/ 820342 h 1685634"/>
                <a:gd name="connsiteX14" fmla="*/ 7916334 w 7916334"/>
                <a:gd name="connsiteY14" fmla="*/ 1404689 h 1685634"/>
                <a:gd name="connsiteX15" fmla="*/ 7635389 w 7916334"/>
                <a:gd name="connsiteY15" fmla="*/ 1685634 h 1685634"/>
                <a:gd name="connsiteX16" fmla="*/ 6966803 w 7916334"/>
                <a:gd name="connsiteY16" fmla="*/ 1685634 h 1685634"/>
                <a:gd name="connsiteX17" fmla="*/ 6445306 w 7916334"/>
                <a:gd name="connsiteY17" fmla="*/ 1685634 h 1685634"/>
                <a:gd name="connsiteX18" fmla="*/ 5703176 w 7916334"/>
                <a:gd name="connsiteY18" fmla="*/ 1685634 h 1685634"/>
                <a:gd name="connsiteX19" fmla="*/ 5181679 w 7916334"/>
                <a:gd name="connsiteY19" fmla="*/ 1685634 h 1685634"/>
                <a:gd name="connsiteX20" fmla="*/ 4366004 w 7916334"/>
                <a:gd name="connsiteY20" fmla="*/ 1685634 h 1685634"/>
                <a:gd name="connsiteX21" fmla="*/ 3550330 w 7916334"/>
                <a:gd name="connsiteY21" fmla="*/ 1685634 h 1685634"/>
                <a:gd name="connsiteX22" fmla="*/ 3028833 w 7916334"/>
                <a:gd name="connsiteY22" fmla="*/ 1685634 h 1685634"/>
                <a:gd name="connsiteX23" fmla="*/ 2360247 w 7916334"/>
                <a:gd name="connsiteY23" fmla="*/ 1685634 h 1685634"/>
                <a:gd name="connsiteX24" fmla="*/ 1691661 w 7916334"/>
                <a:gd name="connsiteY24" fmla="*/ 1685634 h 1685634"/>
                <a:gd name="connsiteX25" fmla="*/ 1243709 w 7916334"/>
                <a:gd name="connsiteY25" fmla="*/ 1685634 h 1685634"/>
                <a:gd name="connsiteX26" fmla="*/ 280945 w 7916334"/>
                <a:gd name="connsiteY26" fmla="*/ 1685634 h 1685634"/>
                <a:gd name="connsiteX27" fmla="*/ 0 w 7916334"/>
                <a:gd name="connsiteY27" fmla="*/ 1404689 h 1685634"/>
                <a:gd name="connsiteX28" fmla="*/ 0 w 7916334"/>
                <a:gd name="connsiteY28" fmla="*/ 820342 h 1685634"/>
                <a:gd name="connsiteX29" fmla="*/ 0 w 7916334"/>
                <a:gd name="connsiteY29" fmla="*/ 280945 h 168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916334" h="1685634" fill="none" extrusionOk="0">
                  <a:moveTo>
                    <a:pt x="0" y="280945"/>
                  </a:moveTo>
                  <a:cubicBezTo>
                    <a:pt x="8686" y="112388"/>
                    <a:pt x="123905" y="12078"/>
                    <a:pt x="280945" y="0"/>
                  </a:cubicBezTo>
                  <a:cubicBezTo>
                    <a:pt x="526443" y="-6273"/>
                    <a:pt x="586624" y="-21946"/>
                    <a:pt x="875986" y="0"/>
                  </a:cubicBezTo>
                  <a:cubicBezTo>
                    <a:pt x="1165348" y="21946"/>
                    <a:pt x="1240520" y="-16083"/>
                    <a:pt x="1397483" y="0"/>
                  </a:cubicBezTo>
                  <a:cubicBezTo>
                    <a:pt x="1554446" y="16083"/>
                    <a:pt x="1817193" y="33048"/>
                    <a:pt x="2066069" y="0"/>
                  </a:cubicBezTo>
                  <a:cubicBezTo>
                    <a:pt x="2314945" y="-33048"/>
                    <a:pt x="2690987" y="-5942"/>
                    <a:pt x="2881744" y="0"/>
                  </a:cubicBezTo>
                  <a:cubicBezTo>
                    <a:pt x="3072501" y="5942"/>
                    <a:pt x="3263180" y="-13338"/>
                    <a:pt x="3623874" y="0"/>
                  </a:cubicBezTo>
                  <a:cubicBezTo>
                    <a:pt x="3984568" y="13338"/>
                    <a:pt x="4039823" y="9396"/>
                    <a:pt x="4292460" y="0"/>
                  </a:cubicBezTo>
                  <a:cubicBezTo>
                    <a:pt x="4545097" y="-9396"/>
                    <a:pt x="4725759" y="-25974"/>
                    <a:pt x="4887501" y="0"/>
                  </a:cubicBezTo>
                  <a:cubicBezTo>
                    <a:pt x="5049243" y="25974"/>
                    <a:pt x="5470497" y="-17084"/>
                    <a:pt x="5629632" y="0"/>
                  </a:cubicBezTo>
                  <a:cubicBezTo>
                    <a:pt x="5788767" y="17084"/>
                    <a:pt x="6018312" y="1864"/>
                    <a:pt x="6371762" y="0"/>
                  </a:cubicBezTo>
                  <a:cubicBezTo>
                    <a:pt x="6725212" y="-1864"/>
                    <a:pt x="7291115" y="45047"/>
                    <a:pt x="7635389" y="0"/>
                  </a:cubicBezTo>
                  <a:cubicBezTo>
                    <a:pt x="7771528" y="19448"/>
                    <a:pt x="7912878" y="94815"/>
                    <a:pt x="7916334" y="280945"/>
                  </a:cubicBezTo>
                  <a:cubicBezTo>
                    <a:pt x="7917585" y="520666"/>
                    <a:pt x="7898843" y="689552"/>
                    <a:pt x="7916334" y="820342"/>
                  </a:cubicBezTo>
                  <a:cubicBezTo>
                    <a:pt x="7933825" y="951132"/>
                    <a:pt x="7927545" y="1207443"/>
                    <a:pt x="7916334" y="1404689"/>
                  </a:cubicBezTo>
                  <a:cubicBezTo>
                    <a:pt x="7917131" y="1532366"/>
                    <a:pt x="7798011" y="1684424"/>
                    <a:pt x="7635389" y="1685634"/>
                  </a:cubicBezTo>
                  <a:cubicBezTo>
                    <a:pt x="7320177" y="1687384"/>
                    <a:pt x="7217246" y="1706661"/>
                    <a:pt x="6966803" y="1685634"/>
                  </a:cubicBezTo>
                  <a:cubicBezTo>
                    <a:pt x="6716360" y="1664607"/>
                    <a:pt x="6558210" y="1704627"/>
                    <a:pt x="6445306" y="1685634"/>
                  </a:cubicBezTo>
                  <a:cubicBezTo>
                    <a:pt x="6332402" y="1666641"/>
                    <a:pt x="5905520" y="1658854"/>
                    <a:pt x="5703176" y="1685634"/>
                  </a:cubicBezTo>
                  <a:cubicBezTo>
                    <a:pt x="5500832" y="1712415"/>
                    <a:pt x="5410441" y="1710631"/>
                    <a:pt x="5181679" y="1685634"/>
                  </a:cubicBezTo>
                  <a:cubicBezTo>
                    <a:pt x="4952917" y="1660637"/>
                    <a:pt x="4545398" y="1679211"/>
                    <a:pt x="4366004" y="1685634"/>
                  </a:cubicBezTo>
                  <a:cubicBezTo>
                    <a:pt x="4186611" y="1692057"/>
                    <a:pt x="3741508" y="1661439"/>
                    <a:pt x="3550330" y="1685634"/>
                  </a:cubicBezTo>
                  <a:cubicBezTo>
                    <a:pt x="3359152" y="1709829"/>
                    <a:pt x="3269414" y="1704460"/>
                    <a:pt x="3028833" y="1685634"/>
                  </a:cubicBezTo>
                  <a:cubicBezTo>
                    <a:pt x="2788252" y="1666808"/>
                    <a:pt x="2538203" y="1694599"/>
                    <a:pt x="2360247" y="1685634"/>
                  </a:cubicBezTo>
                  <a:cubicBezTo>
                    <a:pt x="2182291" y="1676669"/>
                    <a:pt x="1923377" y="1659041"/>
                    <a:pt x="1691661" y="1685634"/>
                  </a:cubicBezTo>
                  <a:cubicBezTo>
                    <a:pt x="1459945" y="1712227"/>
                    <a:pt x="1380054" y="1694010"/>
                    <a:pt x="1243709" y="1685634"/>
                  </a:cubicBezTo>
                  <a:cubicBezTo>
                    <a:pt x="1107364" y="1677258"/>
                    <a:pt x="529708" y="1668238"/>
                    <a:pt x="280945" y="1685634"/>
                  </a:cubicBezTo>
                  <a:cubicBezTo>
                    <a:pt x="133183" y="1711476"/>
                    <a:pt x="-7859" y="1568247"/>
                    <a:pt x="0" y="1404689"/>
                  </a:cubicBezTo>
                  <a:cubicBezTo>
                    <a:pt x="-13873" y="1226108"/>
                    <a:pt x="-553" y="1088649"/>
                    <a:pt x="0" y="820342"/>
                  </a:cubicBezTo>
                  <a:cubicBezTo>
                    <a:pt x="553" y="552035"/>
                    <a:pt x="-107" y="498928"/>
                    <a:pt x="0" y="280945"/>
                  </a:cubicBezTo>
                  <a:close/>
                </a:path>
                <a:path w="7916334" h="1685634" stroke="0" extrusionOk="0">
                  <a:moveTo>
                    <a:pt x="0" y="280945"/>
                  </a:moveTo>
                  <a:cubicBezTo>
                    <a:pt x="-13003" y="139007"/>
                    <a:pt x="102217" y="7689"/>
                    <a:pt x="280945" y="0"/>
                  </a:cubicBezTo>
                  <a:cubicBezTo>
                    <a:pt x="424231" y="13003"/>
                    <a:pt x="606264" y="-18978"/>
                    <a:pt x="802442" y="0"/>
                  </a:cubicBezTo>
                  <a:cubicBezTo>
                    <a:pt x="998620" y="18978"/>
                    <a:pt x="1219701" y="11718"/>
                    <a:pt x="1397483" y="0"/>
                  </a:cubicBezTo>
                  <a:cubicBezTo>
                    <a:pt x="1575265" y="-11718"/>
                    <a:pt x="1715441" y="-17853"/>
                    <a:pt x="1845436" y="0"/>
                  </a:cubicBezTo>
                  <a:cubicBezTo>
                    <a:pt x="1975431" y="17853"/>
                    <a:pt x="2346732" y="-24439"/>
                    <a:pt x="2587566" y="0"/>
                  </a:cubicBezTo>
                  <a:cubicBezTo>
                    <a:pt x="2828400" y="24439"/>
                    <a:pt x="2986513" y="2689"/>
                    <a:pt x="3256152" y="0"/>
                  </a:cubicBezTo>
                  <a:cubicBezTo>
                    <a:pt x="3525791" y="-2689"/>
                    <a:pt x="3660342" y="-27038"/>
                    <a:pt x="3998282" y="0"/>
                  </a:cubicBezTo>
                  <a:cubicBezTo>
                    <a:pt x="4336222" y="27038"/>
                    <a:pt x="4463550" y="-13513"/>
                    <a:pt x="4813957" y="0"/>
                  </a:cubicBezTo>
                  <a:cubicBezTo>
                    <a:pt x="5164364" y="13513"/>
                    <a:pt x="5264492" y="10308"/>
                    <a:pt x="5482543" y="0"/>
                  </a:cubicBezTo>
                  <a:cubicBezTo>
                    <a:pt x="5700594" y="-10308"/>
                    <a:pt x="5876220" y="27483"/>
                    <a:pt x="6224673" y="0"/>
                  </a:cubicBezTo>
                  <a:cubicBezTo>
                    <a:pt x="6573126" y="-27483"/>
                    <a:pt x="6605784" y="702"/>
                    <a:pt x="6966803" y="0"/>
                  </a:cubicBezTo>
                  <a:cubicBezTo>
                    <a:pt x="7327822" y="-702"/>
                    <a:pt x="7420701" y="-20252"/>
                    <a:pt x="7635389" y="0"/>
                  </a:cubicBezTo>
                  <a:cubicBezTo>
                    <a:pt x="7810733" y="-7051"/>
                    <a:pt x="7920233" y="116248"/>
                    <a:pt x="7916334" y="280945"/>
                  </a:cubicBezTo>
                  <a:cubicBezTo>
                    <a:pt x="7899855" y="449367"/>
                    <a:pt x="7910690" y="595485"/>
                    <a:pt x="7916334" y="831580"/>
                  </a:cubicBezTo>
                  <a:cubicBezTo>
                    <a:pt x="7921978" y="1067675"/>
                    <a:pt x="7894503" y="1179226"/>
                    <a:pt x="7916334" y="1404689"/>
                  </a:cubicBezTo>
                  <a:cubicBezTo>
                    <a:pt x="7919227" y="1569254"/>
                    <a:pt x="7786898" y="1671161"/>
                    <a:pt x="7635389" y="1685634"/>
                  </a:cubicBezTo>
                  <a:cubicBezTo>
                    <a:pt x="7303704" y="1716693"/>
                    <a:pt x="7130494" y="1681264"/>
                    <a:pt x="6966803" y="1685634"/>
                  </a:cubicBezTo>
                  <a:cubicBezTo>
                    <a:pt x="6803112" y="1690004"/>
                    <a:pt x="6422209" y="1679518"/>
                    <a:pt x="6224673" y="1685634"/>
                  </a:cubicBezTo>
                  <a:cubicBezTo>
                    <a:pt x="6027137" y="1691751"/>
                    <a:pt x="5926754" y="1695106"/>
                    <a:pt x="5776720" y="1685634"/>
                  </a:cubicBezTo>
                  <a:cubicBezTo>
                    <a:pt x="5626686" y="1676162"/>
                    <a:pt x="5424174" y="1669907"/>
                    <a:pt x="5255223" y="1685634"/>
                  </a:cubicBezTo>
                  <a:cubicBezTo>
                    <a:pt x="5086272" y="1701361"/>
                    <a:pt x="4667209" y="1714754"/>
                    <a:pt x="4439549" y="1685634"/>
                  </a:cubicBezTo>
                  <a:cubicBezTo>
                    <a:pt x="4211889" y="1656514"/>
                    <a:pt x="4102094" y="1703913"/>
                    <a:pt x="3770963" y="1685634"/>
                  </a:cubicBezTo>
                  <a:cubicBezTo>
                    <a:pt x="3439832" y="1667355"/>
                    <a:pt x="3365912" y="1694124"/>
                    <a:pt x="3028833" y="1685634"/>
                  </a:cubicBezTo>
                  <a:cubicBezTo>
                    <a:pt x="2691754" y="1677145"/>
                    <a:pt x="2591610" y="1659600"/>
                    <a:pt x="2433791" y="1685634"/>
                  </a:cubicBezTo>
                  <a:cubicBezTo>
                    <a:pt x="2275972" y="1711668"/>
                    <a:pt x="1959429" y="1703281"/>
                    <a:pt x="1691661" y="1685634"/>
                  </a:cubicBezTo>
                  <a:cubicBezTo>
                    <a:pt x="1423893" y="1667988"/>
                    <a:pt x="1260851" y="1681770"/>
                    <a:pt x="1096620" y="1685634"/>
                  </a:cubicBezTo>
                  <a:cubicBezTo>
                    <a:pt x="932389" y="1689498"/>
                    <a:pt x="616784" y="1659176"/>
                    <a:pt x="280945" y="1685634"/>
                  </a:cubicBezTo>
                  <a:cubicBezTo>
                    <a:pt x="116665" y="1676301"/>
                    <a:pt x="-4228" y="1572424"/>
                    <a:pt x="0" y="1404689"/>
                  </a:cubicBezTo>
                  <a:cubicBezTo>
                    <a:pt x="-19867" y="1281009"/>
                    <a:pt x="-21464" y="1058349"/>
                    <a:pt x="0" y="876529"/>
                  </a:cubicBezTo>
                  <a:cubicBezTo>
                    <a:pt x="21464" y="694709"/>
                    <a:pt x="-17976" y="403049"/>
                    <a:pt x="0" y="280945"/>
                  </a:cubicBezTo>
                  <a:close/>
                </a:path>
              </a:pathLst>
            </a:custGeom>
            <a:solidFill>
              <a:schemeClr val="accent4">
                <a:lumMod val="20000"/>
                <a:lumOff val="80000"/>
              </a:schemeClr>
            </a:solidFill>
            <a:ln w="9525">
              <a:solidFill>
                <a:schemeClr val="bg1">
                  <a:lumMod val="95000"/>
                </a:schemeClr>
              </a:solidFill>
              <a:extLst>
                <a:ext uri="{C807C97D-BFC1-408E-A445-0C87EB9F89A2}">
                  <ask:lineSketchStyleProps xmlns:ask="http://schemas.microsoft.com/office/drawing/2018/sketchyshapes" sd="3403945204">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085850" lvl="2" indent="-1714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e recommend that you choose whatever tool you are comfortable with.</a:t>
              </a:r>
            </a:p>
            <a:p>
              <a:pPr marL="1085850" lvl="2" indent="-1714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on't spend a lot of time learning how to use very complex tools. </a:t>
              </a:r>
            </a:p>
            <a:p>
              <a:pPr marL="1085850" lvl="2" indent="-1714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efore you start, check the restrictions of each tool (some may require payment for certain functionalities).</a:t>
              </a:r>
              <a:endParaRPr lang="es-CO" sz="1600" dirty="0">
                <a:solidFill>
                  <a:schemeClr val="tx1"/>
                </a:solidFill>
                <a:latin typeface="Arial" panose="020B0604020202020204" pitchFamily="34" charset="0"/>
                <a:cs typeface="Arial" panose="020B0604020202020204" pitchFamily="34" charset="0"/>
              </a:endParaRPr>
            </a:p>
          </p:txBody>
        </p:sp>
        <p:pic>
          <p:nvPicPr>
            <p:cNvPr id="4" name="Graphic 3" descr="Lights On with solid fill">
              <a:extLst>
                <a:ext uri="{FF2B5EF4-FFF2-40B4-BE49-F238E27FC236}">
                  <a16:creationId xmlns:a16="http://schemas.microsoft.com/office/drawing/2014/main" id="{FE185935-83F9-42E2-BE95-6DF020A0FF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27563" y="3814617"/>
              <a:ext cx="914400" cy="914400"/>
            </a:xfrm>
            <a:prstGeom prst="rect">
              <a:avLst/>
            </a:prstGeom>
          </p:spPr>
        </p:pic>
      </p:grpSp>
      <p:sp>
        <p:nvSpPr>
          <p:cNvPr id="7" name="TextBox 6">
            <a:extLst>
              <a:ext uri="{FF2B5EF4-FFF2-40B4-BE49-F238E27FC236}">
                <a16:creationId xmlns:a16="http://schemas.microsoft.com/office/drawing/2014/main" id="{D136ADBE-7C1B-4F61-AA0B-60CDFFC14307}"/>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INSTRUCTIONS</a:t>
            </a:r>
            <a:endParaRPr lang="en-GB" sz="40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18814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C9C36564-731C-4B86-BEBD-F18FEC8B3262}"/>
              </a:ext>
            </a:extLst>
          </p:cNvPr>
          <p:cNvSpPr/>
          <p:nvPr/>
        </p:nvSpPr>
        <p:spPr>
          <a:xfrm>
            <a:off x="8991600" y="296799"/>
            <a:ext cx="2836349" cy="3448154"/>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2. Business </a:t>
            </a:r>
            <a:r>
              <a:rPr lang="es-CO" sz="1600" b="1" cap="all" dirty="0" err="1">
                <a:solidFill>
                  <a:sysClr val="windowText" lastClr="000000"/>
                </a:solidFill>
                <a:latin typeface="Arial" panose="020B0604020202020204" pitchFamily="34" charset="0"/>
                <a:cs typeface="Arial" panose="020B0604020202020204" pitchFamily="34" charset="0"/>
              </a:rPr>
              <a:t>architecture</a:t>
            </a:r>
            <a:endParaRPr lang="es-CO" sz="1600" b="1" cap="all" dirty="0">
              <a:solidFill>
                <a:sysClr val="windowText" lastClr="000000"/>
              </a:solidFill>
              <a:latin typeface="Arial" panose="020B0604020202020204" pitchFamily="34" charset="0"/>
              <a:cs typeface="Arial" panose="020B0604020202020204" pitchFamily="34" charset="0"/>
            </a:endParaRPr>
          </a:p>
          <a:p>
            <a:endParaRPr lang="en-US" sz="1600" cap="all" dirty="0">
              <a:solidFill>
                <a:sysClr val="windowText" lastClr="000000"/>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F92F63AE-D852-44C5-839D-7C4A2E0DC9C6}"/>
              </a:ext>
            </a:extLst>
          </p:cNvPr>
          <p:cNvGrpSpPr/>
          <p:nvPr/>
        </p:nvGrpSpPr>
        <p:grpSpPr>
          <a:xfrm>
            <a:off x="4967414" y="296800"/>
            <a:ext cx="3824914" cy="3448155"/>
            <a:chOff x="4016143" y="167071"/>
            <a:chExt cx="3824914" cy="3104699"/>
          </a:xfrm>
        </p:grpSpPr>
        <p:sp>
          <p:nvSpPr>
            <p:cNvPr id="59" name="Rectangle 58">
              <a:extLst>
                <a:ext uri="{FF2B5EF4-FFF2-40B4-BE49-F238E27FC236}">
                  <a16:creationId xmlns:a16="http://schemas.microsoft.com/office/drawing/2014/main" id="{422A93F6-EA38-4E0A-B73A-64A31DA215B7}"/>
                </a:ext>
              </a:extLst>
            </p:cNvPr>
            <p:cNvSpPr/>
            <p:nvPr/>
          </p:nvSpPr>
          <p:spPr>
            <a:xfrm>
              <a:off x="4016143" y="167071"/>
              <a:ext cx="3824914" cy="3104699"/>
            </a:xfrm>
            <a:prstGeom prst="rect">
              <a:avLst/>
            </a:prstGeom>
            <a:solidFill>
              <a:srgbClr val="EA3A5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1. </a:t>
              </a:r>
              <a:r>
                <a:rPr lang="es-CO" sz="1600" b="1" cap="all" dirty="0" err="1">
                  <a:solidFill>
                    <a:sysClr val="windowText" lastClr="000000"/>
                  </a:solidFill>
                  <a:latin typeface="Arial" panose="020B0604020202020204" pitchFamily="34" charset="0"/>
                  <a:cs typeface="Arial" panose="020B0604020202020204" pitchFamily="34" charset="0"/>
                </a:rPr>
                <a:t>Operational</a:t>
              </a:r>
              <a:r>
                <a:rPr lang="es-CO" sz="1600" b="1" cap="all" dirty="0">
                  <a:solidFill>
                    <a:sysClr val="windowText" lastClr="000000"/>
                  </a:solidFill>
                  <a:latin typeface="Arial" panose="020B0604020202020204" pitchFamily="34" charset="0"/>
                  <a:cs typeface="Arial" panose="020B0604020202020204" pitchFamily="34" charset="0"/>
                </a:rPr>
                <a:t> </a:t>
              </a:r>
              <a:r>
                <a:rPr lang="es-CO" sz="1600" b="1" cap="all" dirty="0" err="1">
                  <a:solidFill>
                    <a:sysClr val="windowText" lastClr="000000"/>
                  </a:solidFill>
                  <a:latin typeface="Arial" panose="020B0604020202020204" pitchFamily="34" charset="0"/>
                  <a:cs typeface="Arial" panose="020B0604020202020204" pitchFamily="34" charset="0"/>
                </a:rPr>
                <a:t>strategy</a:t>
              </a:r>
              <a:endParaRPr lang="es-CO" sz="1600" b="1" cap="all" dirty="0">
                <a:solidFill>
                  <a:sysClr val="windowText" lastClr="000000"/>
                </a:solidFill>
                <a:latin typeface="Arial" panose="020B0604020202020204" pitchFamily="34" charset="0"/>
                <a:cs typeface="Arial" panose="020B0604020202020204" pitchFamily="34" charset="0"/>
              </a:endParaRPr>
            </a:p>
            <a:p>
              <a:endParaRPr lang="en-US" sz="1600" dirty="0">
                <a:solidFill>
                  <a:sysClr val="windowText" lastClr="000000"/>
                </a:solidFill>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681673FD-1728-4EAC-B461-E6A26E7D5B58}"/>
                </a:ext>
              </a:extLst>
            </p:cNvPr>
            <p:cNvSpPr txBox="1"/>
            <p:nvPr/>
          </p:nvSpPr>
          <p:spPr>
            <a:xfrm>
              <a:off x="4154168" y="464343"/>
              <a:ext cx="3564442" cy="242757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dirty="0">
                  <a:solidFill>
                    <a:sysClr val="windowText" lastClr="000000"/>
                  </a:solidFill>
                  <a:latin typeface="Arial" panose="020B0604020202020204" pitchFamily="34" charset="0"/>
                  <a:cs typeface="Arial" panose="020B0604020202020204" pitchFamily="34" charset="0"/>
                </a:rPr>
                <a:t>Define three initiatives that allow you to operationalize the strategy of the selected process.</a:t>
              </a:r>
              <a:r>
                <a:rPr lang="es-CO" sz="1400" dirty="0">
                  <a:solidFill>
                    <a:sysClr val="windowText" lastClr="000000"/>
                  </a:solidFill>
                  <a:latin typeface="Arial" panose="020B0604020202020204" pitchFamily="34" charset="0"/>
                  <a:cs typeface="Arial" panose="020B0604020202020204" pitchFamily="34" charset="0"/>
                </a:rPr>
                <a:t>. </a:t>
              </a:r>
            </a:p>
            <a:p>
              <a:pPr marL="342900" indent="-342900">
                <a:lnSpc>
                  <a:spcPct val="85000"/>
                </a:lnSpc>
                <a:spcAft>
                  <a:spcPts val="600"/>
                </a:spcAft>
                <a:buSzPct val="70000"/>
                <a:buAutoNum type="arabicPeriod"/>
              </a:pPr>
              <a:r>
                <a:rPr lang="es-CO" sz="1400" dirty="0" err="1">
                  <a:solidFill>
                    <a:sysClr val="windowText" lastClr="000000"/>
                  </a:solidFill>
                  <a:latin typeface="Arial" panose="020B0604020202020204" pitchFamily="34" charset="0"/>
                  <a:cs typeface="Arial" panose="020B0604020202020204" pitchFamily="34" charset="0"/>
                </a:rPr>
                <a:t>Clearly</a:t>
              </a:r>
              <a:r>
                <a:rPr lang="es-CO" sz="1400" dirty="0">
                  <a:solidFill>
                    <a:sysClr val="windowText" lastClr="000000"/>
                  </a:solidFill>
                  <a:latin typeface="Arial" panose="020B0604020202020204" pitchFamily="34" charset="0"/>
                  <a:cs typeface="Arial" panose="020B0604020202020204" pitchFamily="34" charset="0"/>
                </a:rPr>
                <a:t> </a:t>
              </a:r>
              <a:r>
                <a:rPr lang="es-CO" sz="1400" dirty="0" err="1">
                  <a:solidFill>
                    <a:sysClr val="windowText" lastClr="000000"/>
                  </a:solidFill>
                  <a:latin typeface="Arial" panose="020B0604020202020204" pitchFamily="34" charset="0"/>
                  <a:cs typeface="Arial" panose="020B0604020202020204" pitchFamily="34" charset="0"/>
                </a:rPr>
                <a:t>state</a:t>
              </a:r>
              <a:r>
                <a:rPr lang="es-CO" sz="1400" dirty="0">
                  <a:solidFill>
                    <a:sysClr val="windowText" lastClr="000000"/>
                  </a:solidFill>
                  <a:latin typeface="Arial" panose="020B0604020202020204" pitchFamily="34" charset="0"/>
                  <a:cs typeface="Arial" panose="020B0604020202020204" pitchFamily="34" charset="0"/>
                </a:rPr>
                <a:t> </a:t>
              </a:r>
              <a:r>
                <a:rPr lang="es-CO" sz="1400" dirty="0" err="1">
                  <a:solidFill>
                    <a:sysClr val="windowText" lastClr="000000"/>
                  </a:solidFill>
                  <a:latin typeface="Arial" panose="020B0604020202020204" pitchFamily="34" charset="0"/>
                  <a:cs typeface="Arial" panose="020B0604020202020204" pitchFamily="34" charset="0"/>
                </a:rPr>
                <a:t>the</a:t>
              </a:r>
              <a:r>
                <a:rPr lang="es-CO" sz="1400" dirty="0">
                  <a:solidFill>
                    <a:sysClr val="windowText" lastClr="000000"/>
                  </a:solidFill>
                  <a:latin typeface="Arial" panose="020B0604020202020204" pitchFamily="34" charset="0"/>
                  <a:cs typeface="Arial" panose="020B0604020202020204" pitchFamily="34" charset="0"/>
                </a:rPr>
                <a:t> </a:t>
              </a:r>
              <a:r>
                <a:rPr lang="es-CO" sz="1400" dirty="0" err="1">
                  <a:solidFill>
                    <a:sysClr val="windowText" lastClr="000000"/>
                  </a:solidFill>
                  <a:latin typeface="Arial" panose="020B0604020202020204" pitchFamily="34" charset="0"/>
                  <a:cs typeface="Arial" panose="020B0604020202020204" pitchFamily="34" charset="0"/>
                </a:rPr>
                <a:t>strategy</a:t>
              </a:r>
              <a:endParaRPr lang="es-CO" sz="1400" dirty="0">
                <a:solidFill>
                  <a:sysClr val="windowText" lastClr="000000"/>
                </a:solidFill>
                <a:latin typeface="Arial" panose="020B0604020202020204" pitchFamily="34" charset="0"/>
                <a:cs typeface="Arial" panose="020B0604020202020204" pitchFamily="34" charset="0"/>
              </a:endParaRPr>
            </a:p>
            <a:p>
              <a:pPr marL="342900" indent="-342900">
                <a:lnSpc>
                  <a:spcPct val="85000"/>
                </a:lnSpc>
                <a:spcAft>
                  <a:spcPts val="600"/>
                </a:spcAft>
                <a:buSzPct val="70000"/>
                <a:buAutoNum type="arabicPeriod"/>
              </a:pPr>
              <a:r>
                <a:rPr lang="es-CO" sz="1400" dirty="0">
                  <a:solidFill>
                    <a:sysClr val="windowText" lastClr="000000"/>
                  </a:solidFill>
                  <a:latin typeface="Arial" panose="020B0604020202020204" pitchFamily="34" charset="0"/>
                  <a:cs typeface="Arial" panose="020B0604020202020204" pitchFamily="34" charset="0"/>
                </a:rPr>
                <a:t>Define </a:t>
              </a:r>
              <a:r>
                <a:rPr lang="es-CO" sz="1400" dirty="0" err="1">
                  <a:solidFill>
                    <a:sysClr val="windowText" lastClr="000000"/>
                  </a:solidFill>
                  <a:latin typeface="Arial" panose="020B0604020202020204" pitchFamily="34" charset="0"/>
                  <a:cs typeface="Arial" panose="020B0604020202020204" pitchFamily="34" charset="0"/>
                </a:rPr>
                <a:t>three</a:t>
              </a:r>
              <a:r>
                <a:rPr lang="es-CO" sz="1400" dirty="0">
                  <a:solidFill>
                    <a:sysClr val="windowText" lastClr="000000"/>
                  </a:solidFill>
                  <a:latin typeface="Arial" panose="020B0604020202020204" pitchFamily="34" charset="0"/>
                  <a:cs typeface="Arial" panose="020B0604020202020204" pitchFamily="34" charset="0"/>
                </a:rPr>
                <a:t> </a:t>
              </a:r>
              <a:r>
                <a:rPr lang="es-CO" sz="1400" dirty="0" err="1">
                  <a:solidFill>
                    <a:sysClr val="windowText" lastClr="000000"/>
                  </a:solidFill>
                  <a:latin typeface="Arial" panose="020B0604020202020204" pitchFamily="34" charset="0"/>
                  <a:cs typeface="Arial" panose="020B0604020202020204" pitchFamily="34" charset="0"/>
                </a:rPr>
                <a:t>initiatives</a:t>
              </a:r>
              <a:r>
                <a:rPr lang="es-CO" sz="1400" dirty="0">
                  <a:solidFill>
                    <a:sysClr val="windowText" lastClr="000000"/>
                  </a:solidFill>
                  <a:latin typeface="Arial" panose="020B0604020202020204" pitchFamily="34" charset="0"/>
                  <a:cs typeface="Arial" panose="020B0604020202020204" pitchFamily="34" charset="0"/>
                </a:rPr>
                <a:t> </a:t>
              </a:r>
            </a:p>
            <a:p>
              <a:pPr marL="800100" lvl="1" indent="-342900">
                <a:lnSpc>
                  <a:spcPct val="85000"/>
                </a:lnSpc>
                <a:spcAft>
                  <a:spcPts val="600"/>
                </a:spcAft>
                <a:buSzPct val="70000"/>
                <a:buFont typeface="Arial" panose="020B0604020202020204" pitchFamily="34" charset="0"/>
                <a:buChar char="•"/>
              </a:pPr>
              <a:r>
                <a:rPr lang="es-CO" sz="1400" dirty="0">
                  <a:solidFill>
                    <a:sysClr val="windowText" lastClr="000000"/>
                  </a:solidFill>
                  <a:latin typeface="Arial" panose="020B0604020202020204" pitchFamily="34" charset="0"/>
                  <a:cs typeface="Arial" panose="020B0604020202020204" pitchFamily="34" charset="0"/>
                </a:rPr>
                <a:t>Idea 1: short </a:t>
              </a:r>
              <a:r>
                <a:rPr lang="es-CO" sz="1400" dirty="0" err="1">
                  <a:solidFill>
                    <a:sysClr val="windowText" lastClr="000000"/>
                  </a:solidFill>
                  <a:latin typeface="Arial" panose="020B0604020202020204" pitchFamily="34" charset="0"/>
                  <a:cs typeface="Arial" panose="020B0604020202020204" pitchFamily="34" charset="0"/>
                </a:rPr>
                <a:t>term</a:t>
              </a:r>
              <a:endParaRPr lang="es-CO" sz="1400" dirty="0">
                <a:solidFill>
                  <a:sysClr val="windowText" lastClr="000000"/>
                </a:solidFill>
                <a:latin typeface="Arial" panose="020B0604020202020204" pitchFamily="34" charset="0"/>
                <a:cs typeface="Arial" panose="020B0604020202020204" pitchFamily="34" charset="0"/>
              </a:endParaRPr>
            </a:p>
            <a:p>
              <a:pPr marL="800100" lvl="1" indent="-342900">
                <a:lnSpc>
                  <a:spcPct val="85000"/>
                </a:lnSpc>
                <a:spcAft>
                  <a:spcPts val="600"/>
                </a:spcAft>
                <a:buSzPct val="70000"/>
                <a:buFont typeface="Arial" panose="020B0604020202020204" pitchFamily="34" charset="0"/>
                <a:buChar char="•"/>
              </a:pPr>
              <a:r>
                <a:rPr lang="es-CO" sz="1400" dirty="0">
                  <a:solidFill>
                    <a:sysClr val="windowText" lastClr="000000"/>
                  </a:solidFill>
                  <a:latin typeface="Arial" panose="020B0604020202020204" pitchFamily="34" charset="0"/>
                  <a:cs typeface="Arial" panose="020B0604020202020204" pitchFamily="34" charset="0"/>
                </a:rPr>
                <a:t>Idea 2: médium </a:t>
              </a:r>
              <a:r>
                <a:rPr lang="es-CO" sz="1400" dirty="0" err="1">
                  <a:solidFill>
                    <a:sysClr val="windowText" lastClr="000000"/>
                  </a:solidFill>
                  <a:latin typeface="Arial" panose="020B0604020202020204" pitchFamily="34" charset="0"/>
                  <a:cs typeface="Arial" panose="020B0604020202020204" pitchFamily="34" charset="0"/>
                </a:rPr>
                <a:t>term</a:t>
              </a:r>
              <a:endParaRPr lang="es-CO" sz="1400" dirty="0">
                <a:solidFill>
                  <a:sysClr val="windowText" lastClr="000000"/>
                </a:solidFill>
                <a:latin typeface="Arial" panose="020B0604020202020204" pitchFamily="34" charset="0"/>
                <a:cs typeface="Arial" panose="020B0604020202020204" pitchFamily="34" charset="0"/>
              </a:endParaRPr>
            </a:p>
            <a:p>
              <a:pPr marL="800100" lvl="1" indent="-342900">
                <a:lnSpc>
                  <a:spcPct val="85000"/>
                </a:lnSpc>
                <a:spcAft>
                  <a:spcPts val="600"/>
                </a:spcAft>
                <a:buSzPct val="70000"/>
                <a:buFont typeface="Arial" panose="020B0604020202020204" pitchFamily="34" charset="0"/>
                <a:buChar char="•"/>
              </a:pPr>
              <a:r>
                <a:rPr lang="es-CO" sz="1400" dirty="0">
                  <a:solidFill>
                    <a:sysClr val="windowText" lastClr="000000"/>
                  </a:solidFill>
                  <a:latin typeface="Arial" panose="020B0604020202020204" pitchFamily="34" charset="0"/>
                  <a:cs typeface="Arial" panose="020B0604020202020204" pitchFamily="34" charset="0"/>
                </a:rPr>
                <a:t>Idea 3: </a:t>
              </a:r>
              <a:r>
                <a:rPr lang="es-CO" sz="1400" dirty="0" err="1">
                  <a:solidFill>
                    <a:sysClr val="windowText" lastClr="000000"/>
                  </a:solidFill>
                  <a:latin typeface="Arial" panose="020B0604020202020204" pitchFamily="34" charset="0"/>
                  <a:cs typeface="Arial" panose="020B0604020202020204" pitchFamily="34" charset="0"/>
                </a:rPr>
                <a:t>long</a:t>
              </a:r>
              <a:r>
                <a:rPr lang="es-CO" sz="1400" dirty="0">
                  <a:solidFill>
                    <a:sysClr val="windowText" lastClr="000000"/>
                  </a:solidFill>
                  <a:latin typeface="Arial" panose="020B0604020202020204" pitchFamily="34" charset="0"/>
                  <a:cs typeface="Arial" panose="020B0604020202020204" pitchFamily="34" charset="0"/>
                </a:rPr>
                <a:t> </a:t>
              </a:r>
              <a:r>
                <a:rPr lang="es-CO" sz="1400" dirty="0" err="1">
                  <a:solidFill>
                    <a:sysClr val="windowText" lastClr="000000"/>
                  </a:solidFill>
                  <a:latin typeface="Arial" panose="020B0604020202020204" pitchFamily="34" charset="0"/>
                  <a:cs typeface="Arial" panose="020B0604020202020204" pitchFamily="34" charset="0"/>
                </a:rPr>
                <a:t>term</a:t>
              </a:r>
              <a:endParaRPr lang="es-CO" sz="1400" dirty="0">
                <a:solidFill>
                  <a:sysClr val="windowText" lastClr="000000"/>
                </a:solidFill>
                <a:latin typeface="Arial" panose="020B0604020202020204" pitchFamily="34" charset="0"/>
                <a:cs typeface="Arial" panose="020B0604020202020204" pitchFamily="34" charset="0"/>
              </a:endParaRPr>
            </a:p>
            <a:p>
              <a:pPr>
                <a:lnSpc>
                  <a:spcPct val="85000"/>
                </a:lnSpc>
                <a:spcAft>
                  <a:spcPts val="600"/>
                </a:spcAft>
                <a:buClr>
                  <a:schemeClr val="accent2"/>
                </a:buClr>
                <a:buSzPct val="70000"/>
              </a:pPr>
              <a:r>
                <a:rPr lang="en-US" sz="1400" dirty="0">
                  <a:solidFill>
                    <a:sysClr val="windowText" lastClr="000000"/>
                  </a:solidFill>
                  <a:latin typeface="Arial" panose="020B0604020202020204" pitchFamily="34" charset="0"/>
                  <a:cs typeface="Arial" panose="020B0604020202020204" pitchFamily="34" charset="0"/>
                </a:rPr>
                <a:t>Remember that an initiative is an actionable idea. Write three clear ideas that allow you to understand where and how your business should move to materialize the strategy.</a:t>
              </a:r>
              <a:endParaRPr lang="es-CO" sz="1400" b="1" dirty="0">
                <a:solidFill>
                  <a:sysClr val="windowText" lastClr="000000"/>
                </a:solidFill>
                <a:latin typeface="Arial" panose="020B0604020202020204" pitchFamily="34" charset="0"/>
                <a:cs typeface="Arial" panose="020B0604020202020204" pitchFamily="34" charset="0"/>
              </a:endParaRPr>
            </a:p>
          </p:txBody>
        </p:sp>
      </p:grpSp>
      <p:sp>
        <p:nvSpPr>
          <p:cNvPr id="67" name="TextBox 66">
            <a:extLst>
              <a:ext uri="{FF2B5EF4-FFF2-40B4-BE49-F238E27FC236}">
                <a16:creationId xmlns:a16="http://schemas.microsoft.com/office/drawing/2014/main" id="{40468A0C-FBD1-4E98-A3DD-BDE0DE998A2A}"/>
              </a:ext>
            </a:extLst>
          </p:cNvPr>
          <p:cNvSpPr txBox="1"/>
          <p:nvPr/>
        </p:nvSpPr>
        <p:spPr>
          <a:xfrm>
            <a:off x="9150988" y="1031684"/>
            <a:ext cx="2535334" cy="2252924"/>
          </a:xfrm>
          <a:prstGeom prst="rect">
            <a:avLst/>
          </a:prstGeom>
          <a:noFill/>
        </p:spPr>
        <p:txBody>
          <a:bodyPr wrap="square" lIns="0" tIns="36576" rIns="0" bIns="0" rtlCol="0">
            <a:spAutoFit/>
          </a:bodyPr>
          <a:lstStyle/>
          <a:p>
            <a:r>
              <a:rPr lang="en-US" sz="1200" dirty="0">
                <a:solidFill>
                  <a:schemeClr val="bg2"/>
                </a:solidFill>
                <a:latin typeface="Arial" panose="020B0604020202020204" pitchFamily="34" charset="0"/>
                <a:cs typeface="Arial" panose="020B0604020202020204" pitchFamily="34" charset="0"/>
              </a:rPr>
              <a:t>Now that you are clear about your strategy and the initiatives to make it a reality:</a:t>
            </a:r>
          </a:p>
          <a:p>
            <a:endParaRPr lang="es-CO" sz="1200" dirty="0">
              <a:solidFill>
                <a:schemeClr val="bg2"/>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solidFill>
                  <a:schemeClr val="bg2"/>
                </a:solidFill>
                <a:latin typeface="Arial" panose="020B0604020202020204" pitchFamily="34" charset="0"/>
                <a:cs typeface="Arial" panose="020B0604020202020204" pitchFamily="34" charset="0"/>
              </a:rPr>
              <a:t>Describe what activities you currently perform in your selected process.</a:t>
            </a:r>
          </a:p>
          <a:p>
            <a:pPr marL="171450" indent="-171450">
              <a:buFont typeface="Arial" panose="020B0604020202020204" pitchFamily="34" charset="0"/>
              <a:buChar char="•"/>
            </a:pPr>
            <a:endParaRPr lang="es-CO" sz="1200" dirty="0">
              <a:solidFill>
                <a:schemeClr val="bg2"/>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solidFill>
                  <a:schemeClr val="bg2"/>
                </a:solidFill>
                <a:latin typeface="Arial" panose="020B0604020202020204" pitchFamily="34" charset="0"/>
                <a:cs typeface="Arial" panose="020B0604020202020204" pitchFamily="34" charset="0"/>
              </a:rPr>
              <a:t>And describe what activities you must change or incorporate to implement your initiatives and materialize your strategy.</a:t>
            </a:r>
            <a:endParaRPr lang="es-CO" sz="1200" dirty="0">
              <a:solidFill>
                <a:schemeClr val="bg2"/>
              </a:solidFill>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DDABD6B2-AE84-4CDF-96E8-9E65092454F6}"/>
              </a:ext>
            </a:extLst>
          </p:cNvPr>
          <p:cNvGrpSpPr/>
          <p:nvPr/>
        </p:nvGrpSpPr>
        <p:grpSpPr>
          <a:xfrm>
            <a:off x="740684" y="3409033"/>
            <a:ext cx="3824914" cy="3209542"/>
            <a:chOff x="7106092" y="296798"/>
            <a:chExt cx="3824914" cy="3448153"/>
          </a:xfrm>
        </p:grpSpPr>
        <p:sp>
          <p:nvSpPr>
            <p:cNvPr id="63" name="Rectangle 62">
              <a:extLst>
                <a:ext uri="{FF2B5EF4-FFF2-40B4-BE49-F238E27FC236}">
                  <a16:creationId xmlns:a16="http://schemas.microsoft.com/office/drawing/2014/main" id="{826F8B44-A45F-4921-BA1C-BB16C2ACBC8D}"/>
                </a:ext>
              </a:extLst>
            </p:cNvPr>
            <p:cNvSpPr/>
            <p:nvPr/>
          </p:nvSpPr>
          <p:spPr>
            <a:xfrm>
              <a:off x="7106092" y="296798"/>
              <a:ext cx="3824914" cy="34481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3. People and </a:t>
              </a:r>
              <a:r>
                <a:rPr lang="es-CO" sz="1600" b="1" cap="all" dirty="0" err="1">
                  <a:solidFill>
                    <a:sysClr val="windowText" lastClr="000000"/>
                  </a:solidFill>
                  <a:latin typeface="Arial" panose="020B0604020202020204" pitchFamily="34" charset="0"/>
                  <a:cs typeface="Arial" panose="020B0604020202020204" pitchFamily="34" charset="0"/>
                </a:rPr>
                <a:t>organisation</a:t>
              </a:r>
              <a:endParaRPr lang="es-CO" sz="1600" b="1" cap="all" dirty="0">
                <a:solidFill>
                  <a:sysClr val="windowText" lastClr="000000"/>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F211D6F8-36F3-48C3-91A1-FB236F9BA408}"/>
                </a:ext>
              </a:extLst>
            </p:cNvPr>
            <p:cNvSpPr txBox="1"/>
            <p:nvPr/>
          </p:nvSpPr>
          <p:spPr>
            <a:xfrm>
              <a:off x="7301807" y="837784"/>
              <a:ext cx="3433484" cy="2301380"/>
            </a:xfrm>
            <a:prstGeom prst="rect">
              <a:avLst/>
            </a:prstGeom>
            <a:noFill/>
          </p:spPr>
          <p:txBody>
            <a:bodyPr wrap="square" lIns="0" tIns="36576" rIns="0" bIns="0" rtlCol="0">
              <a:spAutoFit/>
            </a:bodyPr>
            <a:lstStyle/>
            <a:p>
              <a:r>
                <a:rPr lang="en-US" sz="1200" dirty="0">
                  <a:solidFill>
                    <a:sysClr val="windowText" lastClr="000000"/>
                  </a:solidFill>
                  <a:latin typeface="Arial" panose="020B0604020202020204" pitchFamily="34" charset="0"/>
                  <a:cs typeface="Arial" panose="020B0604020202020204" pitchFamily="34" charset="0"/>
                </a:rPr>
                <a:t>Changes in your business architecture should prompt changes in the people who carry out the processes and activities, in this way:</a:t>
              </a:r>
            </a:p>
            <a:p>
              <a:endParaRPr lang="es-CO" sz="1200" dirty="0">
                <a:solidFill>
                  <a:sysClr val="windowText" lastClr="000000"/>
                </a:solidFill>
                <a:latin typeface="Arial" panose="020B0604020202020204" pitchFamily="34" charset="0"/>
                <a:cs typeface="Arial" panose="020B0604020202020204" pitchFamily="34" charset="0"/>
              </a:endParaRPr>
            </a:p>
            <a:p>
              <a:pPr marL="228600" indent="-228600">
                <a:buAutoNum type="arabicPeriod"/>
              </a:pPr>
              <a:r>
                <a:rPr lang="en-US" sz="1200" dirty="0">
                  <a:solidFill>
                    <a:sysClr val="windowText" lastClr="000000"/>
                  </a:solidFill>
                  <a:latin typeface="Arial" panose="020B0604020202020204" pitchFamily="34" charset="0"/>
                  <a:cs typeface="Arial" panose="020B0604020202020204" pitchFamily="34" charset="0"/>
                </a:rPr>
                <a:t>Identify the roles and functions that must be performed to carry out the new activities described in the previous step.</a:t>
              </a:r>
            </a:p>
            <a:p>
              <a:pPr marL="228600" indent="-228600">
                <a:buAutoNum type="arabicPeriod"/>
              </a:pPr>
              <a:endParaRPr lang="es-CO" sz="1200" dirty="0">
                <a:solidFill>
                  <a:sysClr val="windowText" lastClr="000000"/>
                </a:solidFill>
                <a:latin typeface="Arial" panose="020B0604020202020204" pitchFamily="34" charset="0"/>
                <a:cs typeface="Arial" panose="020B0604020202020204" pitchFamily="34" charset="0"/>
              </a:endParaRPr>
            </a:p>
            <a:p>
              <a:pPr marL="228600" indent="-228600">
                <a:lnSpc>
                  <a:spcPct val="85000"/>
                </a:lnSpc>
                <a:spcAft>
                  <a:spcPts val="600"/>
                </a:spcAft>
                <a:buClr>
                  <a:schemeClr val="tx1"/>
                </a:buClr>
                <a:buSzPct val="100000"/>
                <a:buFont typeface="+mj-lt"/>
                <a:buAutoNum type="arabicPeriod"/>
              </a:pPr>
              <a:r>
                <a:rPr lang="en-US" sz="1200" dirty="0">
                  <a:solidFill>
                    <a:sysClr val="windowText" lastClr="000000"/>
                  </a:solidFill>
                  <a:latin typeface="Arial" panose="020B0604020202020204" pitchFamily="34" charset="0"/>
                  <a:cs typeface="Arial" panose="020B0604020202020204" pitchFamily="34" charset="0"/>
                </a:rPr>
                <a:t>Indicate the skills needed to fulfill the roles and functions. (Skills range from technical topics such as managing software to soft skills such as leadership and teamwork</a:t>
              </a:r>
              <a:endParaRPr lang="es-CO" sz="1200" dirty="0">
                <a:solidFill>
                  <a:sysClr val="windowText" lastClr="000000"/>
                </a:solidFill>
                <a:latin typeface="Arial" panose="020B0604020202020204" pitchFamily="34" charset="0"/>
                <a:cs typeface="Arial" panose="020B0604020202020204" pitchFamily="34" charset="0"/>
              </a:endParaRPr>
            </a:p>
          </p:txBody>
        </p:sp>
      </p:grpSp>
      <p:grpSp>
        <p:nvGrpSpPr>
          <p:cNvPr id="2" name="Group 1">
            <a:extLst>
              <a:ext uri="{FF2B5EF4-FFF2-40B4-BE49-F238E27FC236}">
                <a16:creationId xmlns:a16="http://schemas.microsoft.com/office/drawing/2014/main" id="{B5E2AE52-EFF4-4B42-9C49-31FB5B6EF685}"/>
              </a:ext>
            </a:extLst>
          </p:cNvPr>
          <p:cNvGrpSpPr/>
          <p:nvPr/>
        </p:nvGrpSpPr>
        <p:grpSpPr>
          <a:xfrm>
            <a:off x="8792327" y="3934309"/>
            <a:ext cx="3035621" cy="2684266"/>
            <a:chOff x="336133" y="1064096"/>
            <a:chExt cx="2912609" cy="2684266"/>
          </a:xfrm>
        </p:grpSpPr>
        <p:sp>
          <p:nvSpPr>
            <p:cNvPr id="69" name="Rectangle 68">
              <a:extLst>
                <a:ext uri="{FF2B5EF4-FFF2-40B4-BE49-F238E27FC236}">
                  <a16:creationId xmlns:a16="http://schemas.microsoft.com/office/drawing/2014/main" id="{391E7FE5-F827-43AB-AF69-B560CA81E82C}"/>
                </a:ext>
              </a:extLst>
            </p:cNvPr>
            <p:cNvSpPr/>
            <p:nvPr/>
          </p:nvSpPr>
          <p:spPr>
            <a:xfrm>
              <a:off x="336133" y="1064096"/>
              <a:ext cx="2912609" cy="2659172"/>
            </a:xfrm>
            <a:prstGeom prst="rect">
              <a:avLst/>
            </a:prstGeom>
            <a:solidFill>
              <a:srgbClr val="D4BF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5. Performance </a:t>
              </a:r>
              <a:r>
                <a:rPr lang="es-CO" sz="1600" b="1" cap="all" dirty="0" err="1">
                  <a:solidFill>
                    <a:sysClr val="windowText" lastClr="000000"/>
                  </a:solidFill>
                  <a:latin typeface="Arial" panose="020B0604020202020204" pitchFamily="34" charset="0"/>
                  <a:cs typeface="Arial" panose="020B0604020202020204" pitchFamily="34" charset="0"/>
                </a:rPr>
                <a:t>management</a:t>
              </a:r>
              <a:endParaRPr lang="es-CO" sz="1600" b="1" cap="all" dirty="0">
                <a:solidFill>
                  <a:sysClr val="windowText" lastClr="000000"/>
                </a:solidFill>
                <a:latin typeface="Arial" panose="020B0604020202020204" pitchFamily="34" charset="0"/>
                <a:cs typeface="Arial" panose="020B0604020202020204" pitchFamily="34" charset="0"/>
              </a:endParaRPr>
            </a:p>
            <a:p>
              <a:endParaRPr lang="en-US" sz="1600" cap="all" dirty="0">
                <a:solidFill>
                  <a:sysClr val="windowText" lastClr="000000"/>
                </a:solidFill>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38556937-2D3B-4151-B2D9-D4B7177B52F3}"/>
                </a:ext>
              </a:extLst>
            </p:cNvPr>
            <p:cNvSpPr txBox="1"/>
            <p:nvPr/>
          </p:nvSpPr>
          <p:spPr>
            <a:xfrm>
              <a:off x="500854" y="1612393"/>
              <a:ext cx="2650252" cy="2135969"/>
            </a:xfrm>
            <a:prstGeom prst="rect">
              <a:avLst/>
            </a:prstGeom>
            <a:noFill/>
          </p:spPr>
          <p:txBody>
            <a:bodyPr wrap="square" lIns="0" tIns="36576" rIns="0" bIns="0" rtlCol="0">
              <a:spAutoFit/>
            </a:bodyPr>
            <a:lstStyle/>
            <a:p>
              <a:r>
                <a:rPr lang="en-US" sz="1200" dirty="0">
                  <a:solidFill>
                    <a:schemeClr val="bg2"/>
                  </a:solidFill>
                  <a:latin typeface="Arial" panose="020B0604020202020204" pitchFamily="34" charset="0"/>
                  <a:cs typeface="Arial" panose="020B0604020202020204" pitchFamily="34" charset="0"/>
                </a:rPr>
                <a:t>Establish performance metrics in quantitative and qualitative terms</a:t>
              </a:r>
            </a:p>
            <a:p>
              <a:r>
                <a:rPr lang="en-US" sz="1200" dirty="0">
                  <a:solidFill>
                    <a:schemeClr val="bg2"/>
                  </a:solidFill>
                  <a:latin typeface="Arial" panose="020B0604020202020204" pitchFamily="34" charset="0"/>
                  <a:cs typeface="Arial" panose="020B0604020202020204" pitchFamily="34" charset="0"/>
                </a:rPr>
                <a:t>to measure and evaluate the operating model</a:t>
              </a:r>
              <a:endParaRPr lang="es-CO" sz="1200" dirty="0">
                <a:latin typeface="Arial" panose="020B0604020202020204" pitchFamily="34" charset="0"/>
                <a:cs typeface="Arial" panose="020B0604020202020204" pitchFamily="34" charset="0"/>
              </a:endParaRPr>
            </a:p>
            <a:p>
              <a:endParaRPr lang="en-US" sz="1200" dirty="0">
                <a:solidFill>
                  <a:sysClr val="windowText" lastClr="000000"/>
                </a:solidFill>
                <a:latin typeface="Arial" panose="020B0604020202020204" pitchFamily="34" charset="0"/>
                <a:cs typeface="Arial" panose="020B0604020202020204" pitchFamily="34" charset="0"/>
              </a:endParaRPr>
            </a:p>
            <a:p>
              <a:pPr marL="228600" indent="-228600">
                <a:lnSpc>
                  <a:spcPct val="85000"/>
                </a:lnSpc>
                <a:spcAft>
                  <a:spcPts val="600"/>
                </a:spcAft>
                <a:buClr>
                  <a:schemeClr val="tx1"/>
                </a:buClr>
                <a:buSzPct val="100000"/>
                <a:buFont typeface="+mj-lt"/>
                <a:buAutoNum type="arabicPeriod"/>
              </a:pPr>
              <a:r>
                <a:rPr lang="en-US" sz="1200" dirty="0">
                  <a:solidFill>
                    <a:sysClr val="windowText" lastClr="000000"/>
                  </a:solidFill>
                  <a:latin typeface="Arial" panose="020B0604020202020204" pitchFamily="34" charset="0"/>
                  <a:cs typeface="Arial" panose="020B0604020202020204" pitchFamily="34" charset="0"/>
                </a:rPr>
                <a:t>Defines the qualitative and quantitative attributes that the indicators would measure</a:t>
              </a:r>
            </a:p>
            <a:p>
              <a:pPr marL="228600" indent="-228600">
                <a:lnSpc>
                  <a:spcPct val="85000"/>
                </a:lnSpc>
                <a:spcAft>
                  <a:spcPts val="600"/>
                </a:spcAft>
                <a:buClr>
                  <a:schemeClr val="tx1"/>
                </a:buClr>
                <a:buSzPct val="100000"/>
                <a:buFont typeface="+mj-lt"/>
                <a:buAutoNum type="arabicPeriod"/>
              </a:pPr>
              <a:r>
                <a:rPr lang="en-US" sz="1200" dirty="0">
                  <a:solidFill>
                    <a:sysClr val="windowText" lastClr="000000"/>
                  </a:solidFill>
                  <a:latin typeface="Arial" panose="020B0604020202020204" pitchFamily="34" charset="0"/>
                  <a:cs typeface="Arial" panose="020B0604020202020204" pitchFamily="34" charset="0"/>
                </a:rPr>
                <a:t>Define 2 indicators to measure your initiatives (It is important to decide the frequency, tools and goals of each indicator)</a:t>
              </a:r>
              <a:endParaRPr lang="es-CO" sz="1200" dirty="0">
                <a:solidFill>
                  <a:sysClr val="windowText" lastClr="000000"/>
                </a:solidFill>
                <a:latin typeface="Arial" panose="020B0604020202020204" pitchFamily="34" charset="0"/>
                <a:cs typeface="Arial" panose="020B0604020202020204" pitchFamily="34" charset="0"/>
              </a:endParaRPr>
            </a:p>
          </p:txBody>
        </p:sp>
      </p:grpSp>
      <p:grpSp>
        <p:nvGrpSpPr>
          <p:cNvPr id="4" name="Group 3">
            <a:extLst>
              <a:ext uri="{FF2B5EF4-FFF2-40B4-BE49-F238E27FC236}">
                <a16:creationId xmlns:a16="http://schemas.microsoft.com/office/drawing/2014/main" id="{BA4CF336-FA60-4B74-9048-1D8808F06B96}"/>
              </a:ext>
            </a:extLst>
          </p:cNvPr>
          <p:cNvGrpSpPr/>
          <p:nvPr/>
        </p:nvGrpSpPr>
        <p:grpSpPr>
          <a:xfrm>
            <a:off x="4967414" y="3934309"/>
            <a:ext cx="3629197" cy="2659172"/>
            <a:chOff x="336133" y="3946856"/>
            <a:chExt cx="2902706" cy="2659172"/>
          </a:xfrm>
        </p:grpSpPr>
        <p:sp>
          <p:nvSpPr>
            <p:cNvPr id="70" name="Rectangle 69">
              <a:extLst>
                <a:ext uri="{FF2B5EF4-FFF2-40B4-BE49-F238E27FC236}">
                  <a16:creationId xmlns:a16="http://schemas.microsoft.com/office/drawing/2014/main" id="{DAE71F83-9F04-4C4E-B16E-969DF16125E8}"/>
                </a:ext>
              </a:extLst>
            </p:cNvPr>
            <p:cNvSpPr/>
            <p:nvPr/>
          </p:nvSpPr>
          <p:spPr>
            <a:xfrm>
              <a:off x="336133" y="3946856"/>
              <a:ext cx="2902706" cy="2659172"/>
            </a:xfrm>
            <a:prstGeom prst="rect">
              <a:avLst/>
            </a:prstGeom>
            <a:solidFill>
              <a:srgbClr val="FFD9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4. Data and </a:t>
              </a:r>
              <a:r>
                <a:rPr lang="es-CO" sz="1600" b="1" cap="all" dirty="0" err="1">
                  <a:solidFill>
                    <a:sysClr val="windowText" lastClr="000000"/>
                  </a:solidFill>
                  <a:latin typeface="Arial" panose="020B0604020202020204" pitchFamily="34" charset="0"/>
                  <a:cs typeface="Arial" panose="020B0604020202020204" pitchFamily="34" charset="0"/>
                </a:rPr>
                <a:t>technology</a:t>
              </a:r>
              <a:endParaRPr lang="es-CO" sz="1600" b="1" cap="all" dirty="0">
                <a:solidFill>
                  <a:sysClr val="windowText" lastClr="000000"/>
                </a:solidFill>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EAED0996-E726-4806-A44B-EAFD7E03AD78}"/>
                </a:ext>
              </a:extLst>
            </p:cNvPr>
            <p:cNvSpPr txBox="1"/>
            <p:nvPr/>
          </p:nvSpPr>
          <p:spPr>
            <a:xfrm>
              <a:off x="429181" y="4236620"/>
              <a:ext cx="2716609" cy="2129814"/>
            </a:xfrm>
            <a:prstGeom prst="rect">
              <a:avLst/>
            </a:prstGeom>
            <a:noFill/>
          </p:spPr>
          <p:txBody>
            <a:bodyPr wrap="square" lIns="0" tIns="36576" rIns="0" bIns="0" rtlCol="0">
              <a:spAutoFit/>
            </a:bodyPr>
            <a:lstStyle/>
            <a:p>
              <a:r>
                <a:rPr lang="en-US" sz="1200" dirty="0">
                  <a:solidFill>
                    <a:sysClr val="windowText" lastClr="000000"/>
                  </a:solidFill>
                  <a:latin typeface="Arial" panose="020B0604020202020204" pitchFamily="34" charset="0"/>
                  <a:cs typeface="Arial" panose="020B0604020202020204" pitchFamily="34" charset="0"/>
                </a:rPr>
                <a:t>You already have clear processes and people, technology is missing</a:t>
              </a:r>
            </a:p>
            <a:p>
              <a:pPr>
                <a:lnSpc>
                  <a:spcPct val="85000"/>
                </a:lnSpc>
                <a:spcAft>
                  <a:spcPts val="600"/>
                </a:spcAft>
                <a:buClr>
                  <a:schemeClr val="tx1"/>
                </a:buClr>
                <a:buSzPct val="100000"/>
              </a:pPr>
              <a:endParaRPr lang="en-US" sz="1200" dirty="0">
                <a:solidFill>
                  <a:sysClr val="windowText" lastClr="000000"/>
                </a:solidFill>
                <a:latin typeface="Arial" panose="020B0604020202020204" pitchFamily="34" charset="0"/>
                <a:cs typeface="Arial" panose="020B0604020202020204" pitchFamily="34" charset="0"/>
              </a:endParaRPr>
            </a:p>
            <a:p>
              <a:pPr marL="228600" indent="-228600">
                <a:lnSpc>
                  <a:spcPct val="85000"/>
                </a:lnSpc>
                <a:spcAft>
                  <a:spcPts val="600"/>
                </a:spcAft>
                <a:buClr>
                  <a:schemeClr val="tx1"/>
                </a:buClr>
                <a:buSzPct val="100000"/>
                <a:buFont typeface="+mj-lt"/>
                <a:buAutoNum type="arabicPeriod"/>
              </a:pPr>
              <a:r>
                <a:rPr lang="en-US" sz="1200" dirty="0">
                  <a:solidFill>
                    <a:sysClr val="windowText" lastClr="000000"/>
                  </a:solidFill>
                  <a:latin typeface="Arial" panose="020B0604020202020204" pitchFamily="34" charset="0"/>
                  <a:cs typeface="Arial" panose="020B0604020202020204" pitchFamily="34" charset="0"/>
                </a:rPr>
                <a:t>Define what are the most relevant data and information to manage your selected operational process?</a:t>
              </a:r>
            </a:p>
            <a:p>
              <a:pPr marL="228600" indent="-228600">
                <a:lnSpc>
                  <a:spcPct val="85000"/>
                </a:lnSpc>
                <a:spcAft>
                  <a:spcPts val="600"/>
                </a:spcAft>
                <a:buClr>
                  <a:schemeClr val="tx1"/>
                </a:buClr>
                <a:buSzPct val="100000"/>
                <a:buFont typeface="+mj-lt"/>
                <a:buAutoNum type="arabicPeriod"/>
              </a:pPr>
              <a:r>
                <a:rPr lang="en-US" sz="1200" dirty="0">
                  <a:solidFill>
                    <a:sysClr val="windowText" lastClr="000000"/>
                  </a:solidFill>
                  <a:latin typeface="Arial" panose="020B0604020202020204" pitchFamily="34" charset="0"/>
                  <a:cs typeface="Arial" panose="020B0604020202020204" pitchFamily="34" charset="0"/>
                </a:rPr>
                <a:t>Describe the function and benefits of the tools that manage this data? At this point you can describe a tool that you already have or that you would like to acquire, in any case, it must be clear how this tool enables the data management of the selected process.</a:t>
              </a:r>
              <a:endParaRPr lang="es-CO" sz="1200" dirty="0">
                <a:solidFill>
                  <a:sysClr val="windowText" lastClr="000000"/>
                </a:solidFill>
                <a:latin typeface="Arial" panose="020B0604020202020204" pitchFamily="34" charset="0"/>
                <a:cs typeface="Arial" panose="020B0604020202020204" pitchFamily="34" charset="0"/>
              </a:endParaRPr>
            </a:p>
          </p:txBody>
        </p:sp>
      </p:grpSp>
      <p:pic>
        <p:nvPicPr>
          <p:cNvPr id="1026" name="Picture 2">
            <a:extLst>
              <a:ext uri="{FF2B5EF4-FFF2-40B4-BE49-F238E27FC236}">
                <a16:creationId xmlns:a16="http://schemas.microsoft.com/office/drawing/2014/main" id="{EF88313E-4192-4991-95CF-6B1406DE35AE}"/>
              </a:ext>
            </a:extLst>
          </p:cNvPr>
          <p:cNvPicPr>
            <a:picLocks noChangeAspect="1" noChangeArrowheads="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8487100" y="1852917"/>
            <a:ext cx="610455" cy="61045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a:extLst>
              <a:ext uri="{FF2B5EF4-FFF2-40B4-BE49-F238E27FC236}">
                <a16:creationId xmlns:a16="http://schemas.microsoft.com/office/drawing/2014/main" id="{D1881172-ECF8-4150-8E81-0A7C0DD7D5A0}"/>
              </a:ext>
            </a:extLst>
          </p:cNvPr>
          <p:cNvPicPr>
            <a:picLocks noChangeAspect="1" noChangeArrowheads="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4358228" y="4983761"/>
            <a:ext cx="610455" cy="61045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a:extLst>
              <a:ext uri="{FF2B5EF4-FFF2-40B4-BE49-F238E27FC236}">
                <a16:creationId xmlns:a16="http://schemas.microsoft.com/office/drawing/2014/main" id="{83EAEECA-7911-4664-8D82-FFA9DFF4F6F0}"/>
              </a:ext>
            </a:extLst>
          </p:cNvPr>
          <p:cNvPicPr>
            <a:picLocks noChangeAspect="1" noChangeArrowheads="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8143845" y="4983761"/>
            <a:ext cx="610455" cy="61045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FD0B59FE-34B3-4898-9D76-1CCF6C5FABF5}"/>
              </a:ext>
            </a:extLst>
          </p:cNvPr>
          <p:cNvGrpSpPr/>
          <p:nvPr/>
        </p:nvGrpSpPr>
        <p:grpSpPr>
          <a:xfrm>
            <a:off x="734280" y="296798"/>
            <a:ext cx="3826249" cy="2776602"/>
            <a:chOff x="332530" y="296798"/>
            <a:chExt cx="4227999" cy="2582085"/>
          </a:xfrm>
        </p:grpSpPr>
        <p:sp>
          <p:nvSpPr>
            <p:cNvPr id="51" name="Rectangle: Rounded Corners 50">
              <a:extLst>
                <a:ext uri="{FF2B5EF4-FFF2-40B4-BE49-F238E27FC236}">
                  <a16:creationId xmlns:a16="http://schemas.microsoft.com/office/drawing/2014/main" id="{761E16A8-2197-4EF1-9759-E32402BBAAB2}"/>
                </a:ext>
              </a:extLst>
            </p:cNvPr>
            <p:cNvSpPr/>
            <p:nvPr/>
          </p:nvSpPr>
          <p:spPr>
            <a:xfrm>
              <a:off x="332530" y="296798"/>
              <a:ext cx="4227999" cy="2582085"/>
            </a:xfrm>
            <a:prstGeom prst="roundRect">
              <a:avLst>
                <a:gd name="adj" fmla="val 9781"/>
              </a:avLst>
            </a:prstGeom>
            <a:solidFill>
              <a:schemeClr val="bg2"/>
            </a:solidFill>
            <a:ln w="1905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err="1">
                  <a:solidFill>
                    <a:schemeClr val="bg1"/>
                  </a:solidFill>
                  <a:latin typeface="Arial" panose="020B0604020202020204" pitchFamily="34" charset="0"/>
                  <a:cs typeface="Arial" panose="020B0604020202020204" pitchFamily="34" charset="0"/>
                </a:rPr>
                <a:t>Process</a:t>
              </a:r>
              <a:r>
                <a:rPr lang="es-CO" sz="1600" b="1" cap="all" dirty="0">
                  <a:solidFill>
                    <a:schemeClr val="bg1"/>
                  </a:solidFill>
                  <a:latin typeface="Arial" panose="020B0604020202020204" pitchFamily="34" charset="0"/>
                  <a:cs typeface="Arial" panose="020B0604020202020204" pitchFamily="34" charset="0"/>
                </a:rPr>
                <a:t>: </a:t>
              </a:r>
            </a:p>
            <a:p>
              <a:endParaRPr lang="en-US" sz="1600" cap="all" dirty="0">
                <a:solidFill>
                  <a:sysClr val="windowText" lastClr="000000"/>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F65A41A8-486C-49E1-A1BE-F0D6BC7A3152}"/>
                </a:ext>
              </a:extLst>
            </p:cNvPr>
            <p:cNvSpPr txBox="1"/>
            <p:nvPr/>
          </p:nvSpPr>
          <p:spPr>
            <a:xfrm>
              <a:off x="555872" y="772623"/>
              <a:ext cx="3793994" cy="199635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s-CO" sz="1400" b="1" dirty="0" err="1">
                  <a:solidFill>
                    <a:schemeClr val="bg1"/>
                  </a:solidFill>
                  <a:latin typeface="Arial" panose="020B0604020202020204" pitchFamily="34" charset="0"/>
                  <a:cs typeface="Arial" panose="020B0604020202020204" pitchFamily="34" charset="0"/>
                </a:rPr>
                <a:t>Example</a:t>
              </a:r>
              <a:r>
                <a:rPr lang="es-CO" sz="1400" b="1" dirty="0">
                  <a:solidFill>
                    <a:schemeClr val="bg1"/>
                  </a:solidFill>
                  <a:latin typeface="Arial" panose="020B0604020202020204" pitchFamily="34" charset="0"/>
                  <a:cs typeface="Arial" panose="020B0604020202020204" pitchFamily="34" charset="0"/>
                </a:rPr>
                <a:t>: </a:t>
              </a:r>
            </a:p>
            <a:p>
              <a:pPr marL="285750" indent="-285750">
                <a:lnSpc>
                  <a:spcPct val="85000"/>
                </a:lnSpc>
                <a:spcAft>
                  <a:spcPts val="600"/>
                </a:spcAft>
                <a:buClr>
                  <a:schemeClr val="accent2"/>
                </a:buClr>
                <a:buSzPct val="70000"/>
                <a:buFont typeface="Arial" panose="020B0604020202020204" pitchFamily="34" charset="0"/>
                <a:buChar char="•"/>
              </a:pPr>
              <a:r>
                <a:rPr lang="es-CO" sz="1400" dirty="0">
                  <a:solidFill>
                    <a:schemeClr val="bg1"/>
                  </a:solidFill>
                  <a:latin typeface="Arial" panose="020B0604020202020204" pitchFamily="34" charset="0"/>
                  <a:cs typeface="Arial" panose="020B0604020202020204" pitchFamily="34" charset="0"/>
                </a:rPr>
                <a:t>Sales</a:t>
              </a:r>
            </a:p>
            <a:p>
              <a:pPr marL="285750" indent="-285750">
                <a:lnSpc>
                  <a:spcPct val="85000"/>
                </a:lnSpc>
                <a:spcAft>
                  <a:spcPts val="600"/>
                </a:spcAft>
                <a:buClr>
                  <a:schemeClr val="accent2"/>
                </a:buClr>
                <a:buSzPct val="70000"/>
                <a:buFont typeface="Arial" panose="020B0604020202020204" pitchFamily="34" charset="0"/>
                <a:buChar char="•"/>
              </a:pPr>
              <a:r>
                <a:rPr lang="es-CO" sz="1400" dirty="0" err="1">
                  <a:solidFill>
                    <a:schemeClr val="bg1"/>
                  </a:solidFill>
                  <a:latin typeface="Arial" panose="020B0604020202020204" pitchFamily="34" charset="0"/>
                  <a:cs typeface="Arial" panose="020B0604020202020204" pitchFamily="34" charset="0"/>
                </a:rPr>
                <a:t>Procurement</a:t>
              </a:r>
              <a:endParaRPr lang="es-CO" sz="1400" dirty="0">
                <a:solidFill>
                  <a:schemeClr val="bg1"/>
                </a:solidFill>
                <a:latin typeface="Arial" panose="020B0604020202020204" pitchFamily="34" charset="0"/>
                <a:cs typeface="Arial" panose="020B0604020202020204" pitchFamily="34" charset="0"/>
              </a:endParaRPr>
            </a:p>
            <a:p>
              <a:pPr marL="285750" indent="-285750">
                <a:lnSpc>
                  <a:spcPct val="85000"/>
                </a:lnSpc>
                <a:spcAft>
                  <a:spcPts val="600"/>
                </a:spcAft>
                <a:buClr>
                  <a:schemeClr val="accent2"/>
                </a:buClr>
                <a:buSzPct val="70000"/>
                <a:buFont typeface="Arial" panose="020B0604020202020204" pitchFamily="34" charset="0"/>
                <a:buChar char="•"/>
              </a:pPr>
              <a:r>
                <a:rPr lang="es-CO" sz="1400" dirty="0" err="1">
                  <a:solidFill>
                    <a:schemeClr val="bg1"/>
                  </a:solidFill>
                  <a:latin typeface="Arial" panose="020B0604020202020204" pitchFamily="34" charset="0"/>
                  <a:cs typeface="Arial" panose="020B0604020202020204" pitchFamily="34" charset="0"/>
                </a:rPr>
                <a:t>Production</a:t>
              </a:r>
              <a:endParaRPr lang="es-CO" sz="1400" dirty="0">
                <a:solidFill>
                  <a:schemeClr val="bg1"/>
                </a:solidFill>
                <a:latin typeface="Arial" panose="020B0604020202020204" pitchFamily="34" charset="0"/>
                <a:cs typeface="Arial" panose="020B0604020202020204" pitchFamily="34" charset="0"/>
              </a:endParaRPr>
            </a:p>
            <a:p>
              <a:pPr marL="285750" indent="-285750">
                <a:lnSpc>
                  <a:spcPct val="85000"/>
                </a:lnSpc>
                <a:spcAft>
                  <a:spcPts val="600"/>
                </a:spcAft>
                <a:buClr>
                  <a:schemeClr val="accent2"/>
                </a:buClr>
                <a:buSzPct val="70000"/>
                <a:buFont typeface="Arial" panose="020B0604020202020204" pitchFamily="34" charset="0"/>
                <a:buChar char="•"/>
              </a:pPr>
              <a:r>
                <a:rPr lang="es-CO" sz="1400" dirty="0" err="1">
                  <a:solidFill>
                    <a:schemeClr val="bg1"/>
                  </a:solidFill>
                  <a:latin typeface="Arial" panose="020B0604020202020204" pitchFamily="34" charset="0"/>
                  <a:cs typeface="Arial" panose="020B0604020202020204" pitchFamily="34" charset="0"/>
                </a:rPr>
                <a:t>Logistics</a:t>
              </a:r>
              <a:endParaRPr lang="es-CO" sz="1400" dirty="0">
                <a:solidFill>
                  <a:schemeClr val="bg1"/>
                </a:solidFill>
                <a:latin typeface="Arial" panose="020B0604020202020204" pitchFamily="34" charset="0"/>
                <a:cs typeface="Arial" panose="020B0604020202020204" pitchFamily="34" charset="0"/>
              </a:endParaRPr>
            </a:p>
            <a:p>
              <a:pPr marL="285750" indent="-285750">
                <a:lnSpc>
                  <a:spcPct val="85000"/>
                </a:lnSpc>
                <a:spcAft>
                  <a:spcPts val="600"/>
                </a:spcAft>
                <a:buClr>
                  <a:schemeClr val="accent2"/>
                </a:buClr>
                <a:buSzPct val="70000"/>
                <a:buFont typeface="Arial" panose="020B0604020202020204" pitchFamily="34" charset="0"/>
                <a:buChar char="•"/>
              </a:pPr>
              <a:r>
                <a:rPr lang="es-CO" sz="1400" dirty="0">
                  <a:solidFill>
                    <a:schemeClr val="bg1"/>
                  </a:solidFill>
                  <a:latin typeface="Arial" panose="020B0604020202020204" pitchFamily="34" charset="0"/>
                  <a:cs typeface="Arial" panose="020B0604020202020204" pitchFamily="34" charset="0"/>
                </a:rPr>
                <a:t>Marketing</a:t>
              </a:r>
            </a:p>
            <a:p>
              <a:pPr>
                <a:lnSpc>
                  <a:spcPct val="85000"/>
                </a:lnSpc>
                <a:spcAft>
                  <a:spcPts val="600"/>
                </a:spcAft>
                <a:buClr>
                  <a:schemeClr val="accent2"/>
                </a:buClr>
                <a:buSzPct val="70000"/>
              </a:pPr>
              <a:r>
                <a:rPr lang="en-US" sz="1400" dirty="0">
                  <a:solidFill>
                    <a:schemeClr val="bg1"/>
                  </a:solidFill>
                  <a:latin typeface="Arial" panose="020B0604020202020204" pitchFamily="34" charset="0"/>
                  <a:cs typeface="Arial" panose="020B0604020202020204" pitchFamily="34" charset="0"/>
                </a:rPr>
                <a:t>For this exercise, you can choose any of the processes that you have already identified in their productive value chain.</a:t>
              </a:r>
              <a:endParaRPr lang="es-CO" sz="14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763399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2B3F7D68-B594-459E-962A-7CE36C84078A}"/>
              </a:ext>
            </a:extLst>
          </p:cNvPr>
          <p:cNvGrpSpPr/>
          <p:nvPr/>
        </p:nvGrpSpPr>
        <p:grpSpPr>
          <a:xfrm>
            <a:off x="3729558" y="1866979"/>
            <a:ext cx="3985270" cy="4203128"/>
            <a:chOff x="7062474" y="661721"/>
            <a:chExt cx="4311644" cy="4320000"/>
          </a:xfrm>
        </p:grpSpPr>
        <p:sp>
          <p:nvSpPr>
            <p:cNvPr id="30" name="Freeform 232">
              <a:extLst>
                <a:ext uri="{FF2B5EF4-FFF2-40B4-BE49-F238E27FC236}">
                  <a16:creationId xmlns:a16="http://schemas.microsoft.com/office/drawing/2014/main" id="{063CED07-CDC2-44F1-BD3E-165E2433CFEE}"/>
                </a:ext>
              </a:extLst>
            </p:cNvPr>
            <p:cNvSpPr/>
            <p:nvPr/>
          </p:nvSpPr>
          <p:spPr>
            <a:xfrm>
              <a:off x="7635890" y="1433717"/>
              <a:ext cx="3164711" cy="2869163"/>
            </a:xfrm>
            <a:custGeom>
              <a:avLst/>
              <a:gdLst/>
              <a:ahLst/>
              <a:cxnLst/>
              <a:rect l="0" t="0" r="0" b="0"/>
              <a:pathLst>
                <a:path w="3936364" h="3573996">
                  <a:moveTo>
                    <a:pt x="0" y="1394460"/>
                  </a:moveTo>
                  <a:lnTo>
                    <a:pt x="755015" y="3573996"/>
                  </a:lnTo>
                  <a:lnTo>
                    <a:pt x="3133978" y="3573996"/>
                  </a:lnTo>
                  <a:lnTo>
                    <a:pt x="3936364" y="1374648"/>
                  </a:lnTo>
                  <a:lnTo>
                    <a:pt x="1955545" y="0"/>
                  </a:lnTo>
                  <a:lnTo>
                    <a:pt x="0" y="139446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 name="Freeform 233">
              <a:extLst>
                <a:ext uri="{FF2B5EF4-FFF2-40B4-BE49-F238E27FC236}">
                  <a16:creationId xmlns:a16="http://schemas.microsoft.com/office/drawing/2014/main" id="{FAB58704-B84B-4CE1-B84C-5FC2AE14727F}"/>
                </a:ext>
              </a:extLst>
            </p:cNvPr>
            <p:cNvSpPr/>
            <p:nvPr/>
          </p:nvSpPr>
          <p:spPr>
            <a:xfrm>
              <a:off x="7618736" y="2554398"/>
              <a:ext cx="2498279" cy="1732405"/>
            </a:xfrm>
            <a:custGeom>
              <a:avLst/>
              <a:gdLst/>
              <a:ahLst/>
              <a:cxnLst/>
              <a:rect l="0" t="0" r="0" b="0"/>
              <a:pathLst>
                <a:path w="3107436" h="2157984">
                  <a:moveTo>
                    <a:pt x="0" y="0"/>
                  </a:moveTo>
                  <a:lnTo>
                    <a:pt x="3107436" y="2157984"/>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 name="Freeform 234">
              <a:extLst>
                <a:ext uri="{FF2B5EF4-FFF2-40B4-BE49-F238E27FC236}">
                  <a16:creationId xmlns:a16="http://schemas.microsoft.com/office/drawing/2014/main" id="{0EAE7A0D-77FA-48BC-9F55-B25DA928FD7A}"/>
                </a:ext>
              </a:extLst>
            </p:cNvPr>
            <p:cNvSpPr/>
            <p:nvPr/>
          </p:nvSpPr>
          <p:spPr>
            <a:xfrm>
              <a:off x="8224008" y="2482213"/>
              <a:ext cx="2576695" cy="1767886"/>
            </a:xfrm>
            <a:custGeom>
              <a:avLst/>
              <a:gdLst/>
              <a:ahLst/>
              <a:cxnLst/>
              <a:rect l="0" t="0" r="0" b="0"/>
              <a:pathLst>
                <a:path w="3204972" h="2202181">
                  <a:moveTo>
                    <a:pt x="0" y="2202181"/>
                  </a:moveTo>
                  <a:lnTo>
                    <a:pt x="3204972"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3" name="Freeform 235">
              <a:extLst>
                <a:ext uri="{FF2B5EF4-FFF2-40B4-BE49-F238E27FC236}">
                  <a16:creationId xmlns:a16="http://schemas.microsoft.com/office/drawing/2014/main" id="{3830BB33-176B-4A02-890D-4D3A766899CC}"/>
                </a:ext>
              </a:extLst>
            </p:cNvPr>
            <p:cNvSpPr/>
            <p:nvPr/>
          </p:nvSpPr>
          <p:spPr>
            <a:xfrm>
              <a:off x="9189503" y="1466750"/>
              <a:ext cx="945890" cy="2783349"/>
            </a:xfrm>
            <a:custGeom>
              <a:avLst/>
              <a:gdLst/>
              <a:ahLst/>
              <a:cxnLst/>
              <a:rect l="0" t="0" r="0" b="0"/>
              <a:pathLst>
                <a:path w="1176527" h="3467101">
                  <a:moveTo>
                    <a:pt x="1176527" y="3467101"/>
                  </a:moveTo>
                  <a:lnTo>
                    <a:pt x="0"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4" name="Freeform 236">
              <a:extLst>
                <a:ext uri="{FF2B5EF4-FFF2-40B4-BE49-F238E27FC236}">
                  <a16:creationId xmlns:a16="http://schemas.microsoft.com/office/drawing/2014/main" id="{43266F5E-B7AA-425E-8073-672A2B757812}"/>
                </a:ext>
              </a:extLst>
            </p:cNvPr>
            <p:cNvSpPr/>
            <p:nvPr/>
          </p:nvSpPr>
          <p:spPr>
            <a:xfrm>
              <a:off x="8201954" y="1447176"/>
              <a:ext cx="970395" cy="2839627"/>
            </a:xfrm>
            <a:custGeom>
              <a:avLst/>
              <a:gdLst/>
              <a:ahLst/>
              <a:cxnLst/>
              <a:rect l="0" t="0" r="0" b="0"/>
              <a:pathLst>
                <a:path w="1207007" h="3537204">
                  <a:moveTo>
                    <a:pt x="0" y="3537204"/>
                  </a:moveTo>
                  <a:lnTo>
                    <a:pt x="1207007"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5" name="Freeform 237">
              <a:extLst>
                <a:ext uri="{FF2B5EF4-FFF2-40B4-BE49-F238E27FC236}">
                  <a16:creationId xmlns:a16="http://schemas.microsoft.com/office/drawing/2014/main" id="{1DA08B00-AFAF-45A9-BFE7-1B23E6920183}"/>
                </a:ext>
              </a:extLst>
            </p:cNvPr>
            <p:cNvSpPr/>
            <p:nvPr/>
          </p:nvSpPr>
          <p:spPr>
            <a:xfrm>
              <a:off x="7600358" y="2554398"/>
              <a:ext cx="3200345" cy="0"/>
            </a:xfrm>
            <a:custGeom>
              <a:avLst/>
              <a:gdLst/>
              <a:ahLst/>
              <a:cxnLst/>
              <a:rect l="0" t="0" r="0" b="0"/>
              <a:pathLst>
                <a:path w="3980687">
                  <a:moveTo>
                    <a:pt x="0" y="0"/>
                  </a:moveTo>
                  <a:lnTo>
                    <a:pt x="3980687"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6" name="Freeform 238">
              <a:extLst>
                <a:ext uri="{FF2B5EF4-FFF2-40B4-BE49-F238E27FC236}">
                  <a16:creationId xmlns:a16="http://schemas.microsoft.com/office/drawing/2014/main" id="{2D3BEB9F-C1EA-425D-92FA-AA4ABC7C71B8}"/>
                </a:ext>
              </a:extLst>
            </p:cNvPr>
            <p:cNvSpPr/>
            <p:nvPr/>
          </p:nvSpPr>
          <p:spPr>
            <a:xfrm>
              <a:off x="7628538" y="3768060"/>
              <a:ext cx="1215444" cy="1213661"/>
            </a:xfrm>
            <a:custGeom>
              <a:avLst/>
              <a:gdLst/>
              <a:ahLst/>
              <a:cxnLst/>
              <a:rect l="0" t="0" r="0" b="0"/>
              <a:pathLst>
                <a:path w="1511807" h="1511807">
                  <a:moveTo>
                    <a:pt x="0" y="755904"/>
                  </a:moveTo>
                  <a:cubicBezTo>
                    <a:pt x="0" y="338454"/>
                    <a:pt x="338454" y="0"/>
                    <a:pt x="755904" y="0"/>
                  </a:cubicBezTo>
                  <a:cubicBezTo>
                    <a:pt x="1173353" y="0"/>
                    <a:pt x="1511807" y="338454"/>
                    <a:pt x="1511807" y="755904"/>
                  </a:cubicBezTo>
                  <a:cubicBezTo>
                    <a:pt x="1511807" y="1173378"/>
                    <a:pt x="1173353" y="1511807"/>
                    <a:pt x="755904" y="1511807"/>
                  </a:cubicBezTo>
                  <a:cubicBezTo>
                    <a:pt x="338454" y="1511807"/>
                    <a:pt x="0" y="1173378"/>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7" name="Freeform 239">
              <a:extLst>
                <a:ext uri="{FF2B5EF4-FFF2-40B4-BE49-F238E27FC236}">
                  <a16:creationId xmlns:a16="http://schemas.microsoft.com/office/drawing/2014/main" id="{321D88DF-5191-4F28-AE14-52EF79AB1BE6}"/>
                </a:ext>
              </a:extLst>
            </p:cNvPr>
            <p:cNvSpPr/>
            <p:nvPr/>
          </p:nvSpPr>
          <p:spPr>
            <a:xfrm>
              <a:off x="7062474" y="2029537"/>
              <a:ext cx="1215444" cy="1213662"/>
            </a:xfrm>
            <a:custGeom>
              <a:avLst/>
              <a:gdLst/>
              <a:ahLst/>
              <a:cxnLst/>
              <a:rect l="0" t="0" r="0" b="0"/>
              <a:pathLst>
                <a:path w="1511807" h="1511808">
                  <a:moveTo>
                    <a:pt x="0" y="755904"/>
                  </a:moveTo>
                  <a:cubicBezTo>
                    <a:pt x="0" y="338455"/>
                    <a:pt x="338429" y="0"/>
                    <a:pt x="755903" y="0"/>
                  </a:cubicBezTo>
                  <a:cubicBezTo>
                    <a:pt x="1173352" y="0"/>
                    <a:pt x="1511807" y="338455"/>
                    <a:pt x="1511807" y="755904"/>
                  </a:cubicBezTo>
                  <a:cubicBezTo>
                    <a:pt x="1511807" y="1173353"/>
                    <a:pt x="1173352" y="1511808"/>
                    <a:pt x="755903" y="1511808"/>
                  </a:cubicBezTo>
                  <a:cubicBezTo>
                    <a:pt x="338429" y="1511808"/>
                    <a:pt x="0" y="1173353"/>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8" name="Freeform 241">
              <a:extLst>
                <a:ext uri="{FF2B5EF4-FFF2-40B4-BE49-F238E27FC236}">
                  <a16:creationId xmlns:a16="http://schemas.microsoft.com/office/drawing/2014/main" id="{7A7ACD23-64CC-4958-92A6-3C241F3728E1}"/>
                </a:ext>
              </a:extLst>
            </p:cNvPr>
            <p:cNvSpPr/>
            <p:nvPr/>
          </p:nvSpPr>
          <p:spPr>
            <a:xfrm>
              <a:off x="10158673" y="2029537"/>
              <a:ext cx="1215445" cy="1213662"/>
            </a:xfrm>
            <a:custGeom>
              <a:avLst/>
              <a:gdLst/>
              <a:ahLst/>
              <a:cxnLst/>
              <a:rect l="0" t="0" r="0" b="0"/>
              <a:pathLst>
                <a:path w="1511808" h="1511808">
                  <a:moveTo>
                    <a:pt x="0" y="755904"/>
                  </a:moveTo>
                  <a:cubicBezTo>
                    <a:pt x="0" y="338455"/>
                    <a:pt x="338456" y="0"/>
                    <a:pt x="755905" y="0"/>
                  </a:cubicBezTo>
                  <a:cubicBezTo>
                    <a:pt x="1173354" y="0"/>
                    <a:pt x="1511808" y="338455"/>
                    <a:pt x="1511808" y="755904"/>
                  </a:cubicBezTo>
                  <a:cubicBezTo>
                    <a:pt x="1511808" y="1173353"/>
                    <a:pt x="1173354" y="1511808"/>
                    <a:pt x="755905" y="1511808"/>
                  </a:cubicBezTo>
                  <a:cubicBezTo>
                    <a:pt x="338456" y="1511808"/>
                    <a:pt x="0" y="1173353"/>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9" name="Freeform 242">
              <a:extLst>
                <a:ext uri="{FF2B5EF4-FFF2-40B4-BE49-F238E27FC236}">
                  <a16:creationId xmlns:a16="http://schemas.microsoft.com/office/drawing/2014/main" id="{7BBC628A-D058-410D-AC4E-0F2E64763FB9}"/>
                </a:ext>
              </a:extLst>
            </p:cNvPr>
            <p:cNvSpPr/>
            <p:nvPr/>
          </p:nvSpPr>
          <p:spPr>
            <a:xfrm>
              <a:off x="9596285" y="3768060"/>
              <a:ext cx="1215445" cy="1213661"/>
            </a:xfrm>
            <a:custGeom>
              <a:avLst/>
              <a:gdLst/>
              <a:ahLst/>
              <a:cxnLst/>
              <a:rect l="0" t="0" r="0" b="0"/>
              <a:pathLst>
                <a:path w="1511808" h="1511807">
                  <a:moveTo>
                    <a:pt x="0" y="755904"/>
                  </a:moveTo>
                  <a:cubicBezTo>
                    <a:pt x="0" y="338454"/>
                    <a:pt x="338454" y="0"/>
                    <a:pt x="755903" y="0"/>
                  </a:cubicBezTo>
                  <a:cubicBezTo>
                    <a:pt x="1173352" y="0"/>
                    <a:pt x="1511808" y="338454"/>
                    <a:pt x="1511808" y="755904"/>
                  </a:cubicBezTo>
                  <a:cubicBezTo>
                    <a:pt x="1511808" y="1173378"/>
                    <a:pt x="1173352" y="1511807"/>
                    <a:pt x="755903" y="1511807"/>
                  </a:cubicBezTo>
                  <a:cubicBezTo>
                    <a:pt x="338454" y="1511807"/>
                    <a:pt x="0" y="1173378"/>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0" name="Freeform 243">
              <a:extLst>
                <a:ext uri="{FF2B5EF4-FFF2-40B4-BE49-F238E27FC236}">
                  <a16:creationId xmlns:a16="http://schemas.microsoft.com/office/drawing/2014/main" id="{E1AE21D6-B7A4-4C02-9813-F06C2E750718}"/>
                </a:ext>
              </a:extLst>
            </p:cNvPr>
            <p:cNvSpPr/>
            <p:nvPr/>
          </p:nvSpPr>
          <p:spPr>
            <a:xfrm>
              <a:off x="8458643" y="2241806"/>
              <a:ext cx="1534009" cy="1531758"/>
            </a:xfrm>
            <a:custGeom>
              <a:avLst/>
              <a:gdLst/>
              <a:ahLst/>
              <a:cxnLst/>
              <a:rect l="0" t="0" r="0" b="0"/>
              <a:pathLst>
                <a:path w="1908048" h="1908047">
                  <a:moveTo>
                    <a:pt x="0" y="954024"/>
                  </a:moveTo>
                  <a:cubicBezTo>
                    <a:pt x="0" y="427101"/>
                    <a:pt x="427100" y="0"/>
                    <a:pt x="954024" y="0"/>
                  </a:cubicBezTo>
                  <a:cubicBezTo>
                    <a:pt x="1480947" y="0"/>
                    <a:pt x="1908048" y="427101"/>
                    <a:pt x="1908048" y="954024"/>
                  </a:cubicBezTo>
                  <a:cubicBezTo>
                    <a:pt x="1908048" y="1480946"/>
                    <a:pt x="1480947" y="1908047"/>
                    <a:pt x="954024" y="1908047"/>
                  </a:cubicBezTo>
                  <a:cubicBezTo>
                    <a:pt x="427100" y="1908047"/>
                    <a:pt x="0" y="1480946"/>
                    <a:pt x="0" y="954024"/>
                  </a:cubicBezTo>
                  <a:close/>
                </a:path>
              </a:pathLst>
            </a:custGeom>
            <a:solidFill>
              <a:srgbClr val="EA3A55"/>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1" name="Freeform 244">
              <a:extLst>
                <a:ext uri="{FF2B5EF4-FFF2-40B4-BE49-F238E27FC236}">
                  <a16:creationId xmlns:a16="http://schemas.microsoft.com/office/drawing/2014/main" id="{80A2358B-EFC9-4AF4-9A88-78A5DAB74534}"/>
                </a:ext>
              </a:extLst>
            </p:cNvPr>
            <p:cNvSpPr/>
            <p:nvPr/>
          </p:nvSpPr>
          <p:spPr>
            <a:xfrm>
              <a:off x="8458643" y="2241806"/>
              <a:ext cx="1534009" cy="1531758"/>
            </a:xfrm>
            <a:custGeom>
              <a:avLst/>
              <a:gdLst/>
              <a:ahLst/>
              <a:cxnLst/>
              <a:rect l="0" t="0" r="0" b="0"/>
              <a:pathLst>
                <a:path w="1908048" h="1908047">
                  <a:moveTo>
                    <a:pt x="0" y="954024"/>
                  </a:moveTo>
                  <a:cubicBezTo>
                    <a:pt x="0" y="427101"/>
                    <a:pt x="427100" y="0"/>
                    <a:pt x="954024" y="0"/>
                  </a:cubicBezTo>
                  <a:cubicBezTo>
                    <a:pt x="1480947" y="0"/>
                    <a:pt x="1908048" y="427101"/>
                    <a:pt x="1908048" y="954024"/>
                  </a:cubicBezTo>
                  <a:cubicBezTo>
                    <a:pt x="1908048" y="1480946"/>
                    <a:pt x="1480947" y="1908047"/>
                    <a:pt x="954024" y="1908047"/>
                  </a:cubicBezTo>
                  <a:cubicBezTo>
                    <a:pt x="427100" y="1908047"/>
                    <a:pt x="0" y="1480946"/>
                    <a:pt x="0" y="954024"/>
                  </a:cubicBezTo>
                  <a:close/>
                </a:path>
              </a:pathLst>
            </a:custGeom>
            <a:noFill/>
            <a:ln w="19811" cap="flat" cmpd="sng">
              <a:solidFill>
                <a:srgbClr val="2E2E38">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2" name="Rectangle 532">
              <a:extLst>
                <a:ext uri="{FF2B5EF4-FFF2-40B4-BE49-F238E27FC236}">
                  <a16:creationId xmlns:a16="http://schemas.microsoft.com/office/drawing/2014/main" id="{B630FCA5-ABD1-4D65-90FF-5E70C540242F}"/>
                </a:ext>
              </a:extLst>
            </p:cNvPr>
            <p:cNvSpPr/>
            <p:nvPr/>
          </p:nvSpPr>
          <p:spPr>
            <a:xfrm>
              <a:off x="7794088" y="4190224"/>
              <a:ext cx="884345" cy="379602"/>
            </a:xfrm>
            <a:prstGeom prst="rect">
              <a:avLst/>
            </a:prstGeom>
          </p:spPr>
          <p:txBody>
            <a:bodyPr wrap="none" lIns="0" tIns="0" rIns="0" bIns="0">
              <a:spAutoFit/>
            </a:bodyPr>
            <a:lstStyle/>
            <a:p>
              <a:pPr marL="0" algn="ctr"/>
              <a:r>
                <a:rPr lang="es-CO" sz="1200" b="1" i="0" spc="0" baseline="0" dirty="0">
                  <a:latin typeface="EYInterstate-Bold"/>
                </a:rPr>
                <a:t>Data and</a:t>
              </a:r>
            </a:p>
            <a:p>
              <a:pPr marL="0" algn="ctr"/>
              <a:r>
                <a:rPr lang="es-CO" sz="1200" b="1" dirty="0" err="1">
                  <a:latin typeface="EYInterstate-Bold"/>
                </a:rPr>
                <a:t>Technology</a:t>
              </a:r>
              <a:endParaRPr lang="es-CO" sz="1200" b="1" i="0" spc="0" baseline="0" dirty="0">
                <a:latin typeface="EYInterstate-Bold"/>
              </a:endParaRPr>
            </a:p>
          </p:txBody>
        </p:sp>
        <p:sp>
          <p:nvSpPr>
            <p:cNvPr id="43" name="Rectangle 533">
              <a:extLst>
                <a:ext uri="{FF2B5EF4-FFF2-40B4-BE49-F238E27FC236}">
                  <a16:creationId xmlns:a16="http://schemas.microsoft.com/office/drawing/2014/main" id="{3DD8309E-14FF-45B7-8E9D-FE0C6E2D9A17}"/>
                </a:ext>
              </a:extLst>
            </p:cNvPr>
            <p:cNvSpPr/>
            <p:nvPr/>
          </p:nvSpPr>
          <p:spPr>
            <a:xfrm>
              <a:off x="7166701" y="2451702"/>
              <a:ext cx="1006993" cy="379602"/>
            </a:xfrm>
            <a:prstGeom prst="rect">
              <a:avLst/>
            </a:prstGeom>
          </p:spPr>
          <p:txBody>
            <a:bodyPr wrap="none" lIns="0" tIns="0" rIns="0" bIns="0">
              <a:spAutoFit/>
            </a:bodyPr>
            <a:lstStyle/>
            <a:p>
              <a:pPr marL="0" algn="ctr"/>
              <a:r>
                <a:rPr lang="es-CO" sz="1200" b="1" i="0" spc="0" baseline="0" dirty="0">
                  <a:latin typeface="EYInterstate-Bold"/>
                </a:rPr>
                <a:t>Performance</a:t>
              </a:r>
            </a:p>
            <a:p>
              <a:pPr marL="0" algn="ctr"/>
              <a:r>
                <a:rPr lang="es-CO" sz="1200" b="1" dirty="0">
                  <a:latin typeface="EYInterstate-Bold"/>
                </a:rPr>
                <a:t>Management</a:t>
              </a:r>
              <a:endParaRPr lang="es-CO" sz="1200" b="1" i="0" spc="0" baseline="0" dirty="0">
                <a:latin typeface="EYInterstate-Bold"/>
              </a:endParaRPr>
            </a:p>
          </p:txBody>
        </p:sp>
        <p:sp>
          <p:nvSpPr>
            <p:cNvPr id="44" name="Rectangle 535">
              <a:extLst>
                <a:ext uri="{FF2B5EF4-FFF2-40B4-BE49-F238E27FC236}">
                  <a16:creationId xmlns:a16="http://schemas.microsoft.com/office/drawing/2014/main" id="{F240F267-A055-4921-B8C8-BB56A22F8639}"/>
                </a:ext>
              </a:extLst>
            </p:cNvPr>
            <p:cNvSpPr/>
            <p:nvPr/>
          </p:nvSpPr>
          <p:spPr>
            <a:xfrm>
              <a:off x="10264010" y="2451702"/>
              <a:ext cx="1004774" cy="379602"/>
            </a:xfrm>
            <a:prstGeom prst="rect">
              <a:avLst/>
            </a:prstGeom>
          </p:spPr>
          <p:txBody>
            <a:bodyPr wrap="none" lIns="0" tIns="0" rIns="0" bIns="0">
              <a:spAutoFit/>
            </a:bodyPr>
            <a:lstStyle/>
            <a:p>
              <a:pPr algn="ctr"/>
              <a:r>
                <a:rPr lang="es-CO" sz="1200" b="1" i="0" spc="0" baseline="0" dirty="0">
                  <a:latin typeface="EYInterstate-Bold"/>
                </a:rPr>
                <a:t>Business </a:t>
              </a:r>
            </a:p>
            <a:p>
              <a:pPr algn="ctr"/>
              <a:r>
                <a:rPr lang="es-CO" sz="1200" b="1" i="0" spc="0" baseline="0" dirty="0" err="1">
                  <a:latin typeface="EYInterstate-Bold"/>
                </a:rPr>
                <a:t>Architecture</a:t>
              </a:r>
              <a:endParaRPr lang="es-CO" sz="1200" b="1" i="0" spc="0" baseline="0" dirty="0">
                <a:latin typeface="EYInterstate-Bold"/>
              </a:endParaRPr>
            </a:p>
          </p:txBody>
        </p:sp>
        <p:sp>
          <p:nvSpPr>
            <p:cNvPr id="45" name="Rectangle 536">
              <a:extLst>
                <a:ext uri="{FF2B5EF4-FFF2-40B4-BE49-F238E27FC236}">
                  <a16:creationId xmlns:a16="http://schemas.microsoft.com/office/drawing/2014/main" id="{3C8FCCB4-CC87-4935-AF12-3C0023C4A514}"/>
                </a:ext>
              </a:extLst>
            </p:cNvPr>
            <p:cNvSpPr/>
            <p:nvPr/>
          </p:nvSpPr>
          <p:spPr>
            <a:xfrm>
              <a:off x="9700132" y="4190224"/>
              <a:ext cx="1007756" cy="379602"/>
            </a:xfrm>
            <a:prstGeom prst="rect">
              <a:avLst/>
            </a:prstGeom>
          </p:spPr>
          <p:txBody>
            <a:bodyPr wrap="none" lIns="0" tIns="0" rIns="0" bIns="0">
              <a:spAutoFit/>
            </a:bodyPr>
            <a:lstStyle/>
            <a:p>
              <a:pPr algn="ctr"/>
              <a:r>
                <a:rPr lang="es-CO" sz="1200" b="1" i="0" spc="0" baseline="0" dirty="0">
                  <a:latin typeface="EYInterstate-Bold"/>
                </a:rPr>
                <a:t>People  and</a:t>
              </a:r>
            </a:p>
            <a:p>
              <a:pPr algn="ctr"/>
              <a:r>
                <a:rPr lang="es-CO" sz="1200" b="1" dirty="0" err="1">
                  <a:latin typeface="EYInterstate-Bold"/>
                </a:rPr>
                <a:t>Organisation</a:t>
              </a:r>
              <a:endParaRPr lang="es-CO" sz="1200" b="1" i="0" spc="0" baseline="0" dirty="0">
                <a:latin typeface="EYInterstate-Bold"/>
              </a:endParaRPr>
            </a:p>
          </p:txBody>
        </p:sp>
        <p:sp>
          <p:nvSpPr>
            <p:cNvPr id="46" name="Rectangle 537">
              <a:extLst>
                <a:ext uri="{FF2B5EF4-FFF2-40B4-BE49-F238E27FC236}">
                  <a16:creationId xmlns:a16="http://schemas.microsoft.com/office/drawing/2014/main" id="{04A701D2-D5E4-4E56-AF84-B2144030AF9C}"/>
                </a:ext>
              </a:extLst>
            </p:cNvPr>
            <p:cNvSpPr/>
            <p:nvPr/>
          </p:nvSpPr>
          <p:spPr>
            <a:xfrm>
              <a:off x="8808065" y="2792242"/>
              <a:ext cx="835165" cy="430887"/>
            </a:xfrm>
            <a:prstGeom prst="rect">
              <a:avLst/>
            </a:prstGeom>
          </p:spPr>
          <p:txBody>
            <a:bodyPr wrap="none" lIns="0" tIns="0" rIns="0" bIns="0">
              <a:spAutoFit/>
            </a:bodyPr>
            <a:lstStyle/>
            <a:p>
              <a:pPr marL="0" algn="ctr"/>
              <a:r>
                <a:rPr lang="es-CO" sz="1400" b="1" i="0" spc="0" baseline="0">
                  <a:solidFill>
                    <a:schemeClr val="bg1"/>
                  </a:solidFill>
                  <a:latin typeface="Arial"/>
                </a:rPr>
                <a:t>Modelo</a:t>
              </a:r>
              <a:r>
                <a:rPr lang="en-US" sz="1400" b="1" i="0" spc="0" baseline="0">
                  <a:solidFill>
                    <a:schemeClr val="bg1"/>
                  </a:solidFill>
                  <a:latin typeface="Arial"/>
                </a:rPr>
                <a:t> </a:t>
              </a:r>
            </a:p>
            <a:p>
              <a:pPr marL="0" algn="ctr"/>
              <a:r>
                <a:rPr lang="es-CO" sz="1400" b="1">
                  <a:solidFill>
                    <a:schemeClr val="bg1"/>
                  </a:solidFill>
                  <a:latin typeface="Arial"/>
                </a:rPr>
                <a:t>Operativo</a:t>
              </a:r>
              <a:endParaRPr lang="es-CO" sz="1400" b="1" i="0" spc="0" baseline="0">
                <a:solidFill>
                  <a:schemeClr val="bg1"/>
                </a:solidFill>
                <a:latin typeface="Arial"/>
              </a:endParaRPr>
            </a:p>
          </p:txBody>
        </p:sp>
        <p:sp>
          <p:nvSpPr>
            <p:cNvPr id="47" name="Freeform 241">
              <a:extLst>
                <a:ext uri="{FF2B5EF4-FFF2-40B4-BE49-F238E27FC236}">
                  <a16:creationId xmlns:a16="http://schemas.microsoft.com/office/drawing/2014/main" id="{8377209B-FF12-409B-BFFB-808D0BF5D40C}"/>
                </a:ext>
              </a:extLst>
            </p:cNvPr>
            <p:cNvSpPr/>
            <p:nvPr/>
          </p:nvSpPr>
          <p:spPr>
            <a:xfrm>
              <a:off x="8615985" y="661721"/>
              <a:ext cx="1215445" cy="1213662"/>
            </a:xfrm>
            <a:custGeom>
              <a:avLst/>
              <a:gdLst/>
              <a:ahLst/>
              <a:cxnLst/>
              <a:rect l="0" t="0" r="0" b="0"/>
              <a:pathLst>
                <a:path w="1511808" h="1511808">
                  <a:moveTo>
                    <a:pt x="0" y="755904"/>
                  </a:moveTo>
                  <a:cubicBezTo>
                    <a:pt x="0" y="338455"/>
                    <a:pt x="338456" y="0"/>
                    <a:pt x="755905" y="0"/>
                  </a:cubicBezTo>
                  <a:cubicBezTo>
                    <a:pt x="1173354" y="0"/>
                    <a:pt x="1511808" y="338455"/>
                    <a:pt x="1511808" y="755904"/>
                  </a:cubicBezTo>
                  <a:cubicBezTo>
                    <a:pt x="1511808" y="1173353"/>
                    <a:pt x="1173354" y="1511808"/>
                    <a:pt x="755905" y="1511808"/>
                  </a:cubicBezTo>
                  <a:cubicBezTo>
                    <a:pt x="338456" y="1511808"/>
                    <a:pt x="0" y="1173353"/>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8" name="Rectangle 535">
              <a:extLst>
                <a:ext uri="{FF2B5EF4-FFF2-40B4-BE49-F238E27FC236}">
                  <a16:creationId xmlns:a16="http://schemas.microsoft.com/office/drawing/2014/main" id="{E42B9697-5FA5-4C8C-BD93-E8A6CEA81210}"/>
                </a:ext>
              </a:extLst>
            </p:cNvPr>
            <p:cNvSpPr/>
            <p:nvPr/>
          </p:nvSpPr>
          <p:spPr>
            <a:xfrm>
              <a:off x="8744525" y="1083886"/>
              <a:ext cx="958363" cy="379602"/>
            </a:xfrm>
            <a:prstGeom prst="rect">
              <a:avLst/>
            </a:prstGeom>
          </p:spPr>
          <p:txBody>
            <a:bodyPr wrap="none" lIns="0" tIns="0" rIns="0" bIns="0">
              <a:spAutoFit/>
            </a:bodyPr>
            <a:lstStyle/>
            <a:p>
              <a:pPr algn="ctr"/>
              <a:r>
                <a:rPr lang="es-CO" sz="1200" b="1" i="0" spc="0" baseline="0" dirty="0" err="1">
                  <a:solidFill>
                    <a:schemeClr val="bg2"/>
                  </a:solidFill>
                  <a:latin typeface="EYInterstate-Bold"/>
                </a:rPr>
                <a:t>Operational</a:t>
              </a:r>
              <a:r>
                <a:rPr lang="es-CO" sz="1200" b="1" i="0" spc="0" baseline="0" dirty="0">
                  <a:solidFill>
                    <a:schemeClr val="bg2"/>
                  </a:solidFill>
                  <a:latin typeface="EYInterstate-Bold"/>
                </a:rPr>
                <a:t> </a:t>
              </a:r>
            </a:p>
            <a:p>
              <a:pPr algn="ctr"/>
              <a:r>
                <a:rPr lang="es-CO" sz="1200" b="1" dirty="0" err="1">
                  <a:solidFill>
                    <a:schemeClr val="bg2"/>
                  </a:solidFill>
                  <a:latin typeface="EYInterstate-Bold"/>
                </a:rPr>
                <a:t>Strategy</a:t>
              </a:r>
              <a:endParaRPr lang="es-CO" sz="1200" b="1" i="0" spc="0" baseline="0" dirty="0">
                <a:solidFill>
                  <a:schemeClr val="bg2"/>
                </a:solidFill>
                <a:latin typeface="EYInterstate-Bold"/>
              </a:endParaRPr>
            </a:p>
          </p:txBody>
        </p:sp>
      </p:grpSp>
      <p:sp>
        <p:nvSpPr>
          <p:cNvPr id="59" name="Rectangle 58">
            <a:extLst>
              <a:ext uri="{FF2B5EF4-FFF2-40B4-BE49-F238E27FC236}">
                <a16:creationId xmlns:a16="http://schemas.microsoft.com/office/drawing/2014/main" id="{422A93F6-EA38-4E0A-B73A-64A31DA215B7}"/>
              </a:ext>
            </a:extLst>
          </p:cNvPr>
          <p:cNvSpPr/>
          <p:nvPr/>
        </p:nvSpPr>
        <p:spPr>
          <a:xfrm>
            <a:off x="4016143" y="167071"/>
            <a:ext cx="3824914" cy="1370773"/>
          </a:xfrm>
          <a:prstGeom prst="rect">
            <a:avLst/>
          </a:prstGeom>
          <a:solidFill>
            <a:srgbClr val="EA3A5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err="1">
                <a:solidFill>
                  <a:sysClr val="windowText" lastClr="000000"/>
                </a:solidFill>
                <a:latin typeface="Arial" panose="020B0604020202020204" pitchFamily="34" charset="0"/>
                <a:cs typeface="Arial" panose="020B0604020202020204" pitchFamily="34" charset="0"/>
              </a:rPr>
              <a:t>Operational</a:t>
            </a:r>
            <a:r>
              <a:rPr lang="es-CO" sz="1600" b="1" cap="all" dirty="0">
                <a:solidFill>
                  <a:sysClr val="windowText" lastClr="000000"/>
                </a:solidFill>
                <a:latin typeface="Arial" panose="020B0604020202020204" pitchFamily="34" charset="0"/>
                <a:cs typeface="Arial" panose="020B0604020202020204" pitchFamily="34" charset="0"/>
              </a:rPr>
              <a:t> </a:t>
            </a:r>
            <a:r>
              <a:rPr lang="es-CO" sz="1600" b="1" cap="all" dirty="0" err="1">
                <a:solidFill>
                  <a:sysClr val="windowText" lastClr="000000"/>
                </a:solidFill>
                <a:latin typeface="Arial" panose="020B0604020202020204" pitchFamily="34" charset="0"/>
                <a:cs typeface="Arial" panose="020B0604020202020204" pitchFamily="34" charset="0"/>
              </a:rPr>
              <a:t>strategy</a:t>
            </a:r>
            <a:endParaRPr lang="es-CO" sz="1600" b="1" cap="all" dirty="0">
              <a:solidFill>
                <a:sysClr val="windowText" lastClr="000000"/>
              </a:solidFill>
              <a:latin typeface="Arial" panose="020B0604020202020204" pitchFamily="34" charset="0"/>
              <a:cs typeface="Arial" panose="020B0604020202020204" pitchFamily="34" charset="0"/>
            </a:endParaRPr>
          </a:p>
          <a:p>
            <a:endParaRPr lang="en-US" sz="1600" dirty="0">
              <a:solidFill>
                <a:sysClr val="windowText" lastClr="000000"/>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C9C36564-731C-4B86-BEBD-F18FEC8B3262}"/>
              </a:ext>
            </a:extLst>
          </p:cNvPr>
          <p:cNvSpPr/>
          <p:nvPr/>
        </p:nvSpPr>
        <p:spPr>
          <a:xfrm>
            <a:off x="8185744" y="1085783"/>
            <a:ext cx="2912609" cy="2659172"/>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Business </a:t>
            </a:r>
            <a:r>
              <a:rPr lang="es-CO" sz="1600" b="1" cap="all" dirty="0" err="1">
                <a:solidFill>
                  <a:sysClr val="windowText" lastClr="000000"/>
                </a:solidFill>
                <a:latin typeface="Arial" panose="020B0604020202020204" pitchFamily="34" charset="0"/>
                <a:cs typeface="Arial" panose="020B0604020202020204" pitchFamily="34" charset="0"/>
              </a:rPr>
              <a:t>architecture</a:t>
            </a:r>
            <a:endParaRPr lang="es-CO" sz="1600" b="1" cap="all" dirty="0">
              <a:solidFill>
                <a:sysClr val="windowText" lastClr="000000"/>
              </a:solidFill>
              <a:latin typeface="Arial" panose="020B0604020202020204" pitchFamily="34" charset="0"/>
              <a:cs typeface="Arial" panose="020B0604020202020204" pitchFamily="34" charset="0"/>
            </a:endParaRPr>
          </a:p>
          <a:p>
            <a:endParaRPr lang="en-US" sz="1600" cap="all" dirty="0">
              <a:solidFill>
                <a:sysClr val="windowText" lastClr="000000"/>
              </a:solidFill>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826F8B44-A45F-4921-BA1C-BB16C2ACBC8D}"/>
              </a:ext>
            </a:extLst>
          </p:cNvPr>
          <p:cNvSpPr/>
          <p:nvPr/>
        </p:nvSpPr>
        <p:spPr>
          <a:xfrm>
            <a:off x="8185744" y="3968543"/>
            <a:ext cx="2902706" cy="265917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People and </a:t>
            </a:r>
            <a:r>
              <a:rPr lang="es-CO" sz="1600" b="1" cap="all" dirty="0" err="1">
                <a:solidFill>
                  <a:sysClr val="windowText" lastClr="000000"/>
                </a:solidFill>
                <a:latin typeface="Arial" panose="020B0604020202020204" pitchFamily="34" charset="0"/>
                <a:cs typeface="Arial" panose="020B0604020202020204" pitchFamily="34" charset="0"/>
              </a:rPr>
              <a:t>organisation</a:t>
            </a:r>
            <a:endParaRPr lang="es-CO" sz="1600" b="1" cap="all" dirty="0">
              <a:solidFill>
                <a:sysClr val="windowText" lastClr="000000"/>
              </a:solidFill>
              <a:latin typeface="Arial" panose="020B0604020202020204" pitchFamily="34" charset="0"/>
              <a:cs typeface="Arial" panose="020B0604020202020204" pitchFamily="34" charset="0"/>
            </a:endParaRPr>
          </a:p>
        </p:txBody>
      </p:sp>
      <p:sp>
        <p:nvSpPr>
          <p:cNvPr id="69" name="Rectangle 68">
            <a:extLst>
              <a:ext uri="{FF2B5EF4-FFF2-40B4-BE49-F238E27FC236}">
                <a16:creationId xmlns:a16="http://schemas.microsoft.com/office/drawing/2014/main" id="{391E7FE5-F827-43AB-AF69-B560CA81E82C}"/>
              </a:ext>
            </a:extLst>
          </p:cNvPr>
          <p:cNvSpPr/>
          <p:nvPr/>
        </p:nvSpPr>
        <p:spPr>
          <a:xfrm>
            <a:off x="336133" y="1064096"/>
            <a:ext cx="2912609" cy="2659172"/>
          </a:xfrm>
          <a:prstGeom prst="rect">
            <a:avLst/>
          </a:prstGeom>
          <a:solidFill>
            <a:srgbClr val="D4BF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Performance </a:t>
            </a:r>
            <a:r>
              <a:rPr lang="es-CO" sz="1600" b="1" cap="all" dirty="0" err="1">
                <a:solidFill>
                  <a:sysClr val="windowText" lastClr="000000"/>
                </a:solidFill>
                <a:latin typeface="Arial" panose="020B0604020202020204" pitchFamily="34" charset="0"/>
                <a:cs typeface="Arial" panose="020B0604020202020204" pitchFamily="34" charset="0"/>
              </a:rPr>
              <a:t>management</a:t>
            </a:r>
            <a:endParaRPr lang="es-CO" sz="1600" b="1" cap="all" dirty="0">
              <a:solidFill>
                <a:sysClr val="windowText" lastClr="000000"/>
              </a:solidFill>
              <a:latin typeface="Arial" panose="020B0604020202020204" pitchFamily="34" charset="0"/>
              <a:cs typeface="Arial" panose="020B0604020202020204" pitchFamily="34" charset="0"/>
            </a:endParaRPr>
          </a:p>
          <a:p>
            <a:endParaRPr lang="en-US" sz="1600" cap="all" dirty="0">
              <a:solidFill>
                <a:sysClr val="windowText" lastClr="000000"/>
              </a:solidFill>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DAE71F83-9F04-4C4E-B16E-969DF16125E8}"/>
              </a:ext>
            </a:extLst>
          </p:cNvPr>
          <p:cNvSpPr/>
          <p:nvPr/>
        </p:nvSpPr>
        <p:spPr>
          <a:xfrm>
            <a:off x="336133" y="3946856"/>
            <a:ext cx="2902706" cy="2659172"/>
          </a:xfrm>
          <a:prstGeom prst="rect">
            <a:avLst/>
          </a:prstGeom>
          <a:solidFill>
            <a:srgbClr val="FFD9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Data and </a:t>
            </a:r>
            <a:r>
              <a:rPr lang="es-CO" sz="1600" b="1" cap="all" dirty="0" err="1">
                <a:solidFill>
                  <a:sysClr val="windowText" lastClr="000000"/>
                </a:solidFill>
                <a:latin typeface="Arial" panose="020B0604020202020204" pitchFamily="34" charset="0"/>
                <a:cs typeface="Arial" panose="020B0604020202020204" pitchFamily="34" charset="0"/>
              </a:rPr>
              <a:t>technology</a:t>
            </a:r>
            <a:endParaRPr lang="es-CO" sz="1600" b="1" cap="all" dirty="0">
              <a:solidFill>
                <a:sysClr val="windowText" lastClr="000000"/>
              </a:solidFill>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7F9A2BDE-C0F8-4DA6-BAE0-73F19E40B1B8}"/>
              </a:ext>
            </a:extLst>
          </p:cNvPr>
          <p:cNvSpPr/>
          <p:nvPr/>
        </p:nvSpPr>
        <p:spPr>
          <a:xfrm>
            <a:off x="336133" y="164626"/>
            <a:ext cx="2912609" cy="590900"/>
          </a:xfrm>
          <a:prstGeom prst="rect">
            <a:avLst/>
          </a:prstGeom>
          <a:solidFill>
            <a:srgbClr val="D4BF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err="1">
                <a:solidFill>
                  <a:sysClr val="windowText" lastClr="000000"/>
                </a:solidFill>
                <a:latin typeface="Arial" panose="020B0604020202020204" pitchFamily="34" charset="0"/>
                <a:cs typeface="Arial" panose="020B0604020202020204" pitchFamily="34" charset="0"/>
              </a:rPr>
              <a:t>Process</a:t>
            </a:r>
            <a:r>
              <a:rPr lang="es-CO" sz="1600" b="1" cap="all" dirty="0">
                <a:solidFill>
                  <a:sysClr val="windowText" lastClr="000000"/>
                </a:solidFill>
                <a:latin typeface="Arial" panose="020B0604020202020204" pitchFamily="34" charset="0"/>
                <a:cs typeface="Arial" panose="020B0604020202020204" pitchFamily="34" charset="0"/>
              </a:rPr>
              <a:t>: </a:t>
            </a:r>
          </a:p>
          <a:p>
            <a:endParaRPr lang="en-US" sz="1600" cap="all" dirty="0">
              <a:solidFill>
                <a:sysClr val="windowText" lastClr="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147527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692B0D-82AC-41A6-A5BD-1A4B9AC9B985}"/>
              </a:ext>
            </a:extLst>
          </p:cNvPr>
          <p:cNvSpPr txBox="1"/>
          <p:nvPr/>
        </p:nvSpPr>
        <p:spPr>
          <a:xfrm>
            <a:off x="486611" y="1437319"/>
            <a:ext cx="11218778" cy="4282647"/>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2400" b="1" dirty="0">
                <a:solidFill>
                  <a:schemeClr val="bg1"/>
                </a:solidFill>
                <a:latin typeface="Arial" panose="020B0604020202020204" pitchFamily="34" charset="0"/>
                <a:cs typeface="Arial" panose="020B0604020202020204" pitchFamily="34" charset="0"/>
              </a:rPr>
              <a:t>Date of submission: </a:t>
            </a:r>
            <a:r>
              <a:rPr lang="en-GB" sz="2400" b="1" dirty="0">
                <a:solidFill>
                  <a:schemeClr val="bg1"/>
                </a:solidFill>
                <a:highlight>
                  <a:srgbClr val="EA3A55"/>
                </a:highlight>
                <a:latin typeface="Arial" panose="020B0604020202020204" pitchFamily="34" charset="0"/>
                <a:cs typeface="Arial" panose="020B0604020202020204" pitchFamily="34" charset="0"/>
              </a:rPr>
              <a:t>May 19th</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2000" dirty="0">
                <a:solidFill>
                  <a:schemeClr val="bg1"/>
                </a:solidFill>
                <a:latin typeface="Arial" panose="020B0604020202020204" pitchFamily="34" charset="0"/>
                <a:cs typeface="Arial" panose="020B0604020202020204" pitchFamily="34" charset="0"/>
              </a:rPr>
              <a:t>One of the group members must upload the file to the </a:t>
            </a:r>
            <a:r>
              <a:rPr lang="en-US" sz="2000" dirty="0" err="1">
                <a:solidFill>
                  <a:schemeClr val="bg1"/>
                </a:solidFill>
                <a:latin typeface="Arial" panose="020B0604020202020204" pitchFamily="34" charset="0"/>
                <a:cs typeface="Arial" panose="020B0604020202020204" pitchFamily="34" charset="0"/>
              </a:rPr>
              <a:t>ConnectAmericas</a:t>
            </a:r>
            <a:r>
              <a:rPr lang="en-US" sz="2000" dirty="0">
                <a:solidFill>
                  <a:schemeClr val="bg1"/>
                </a:solidFill>
                <a:latin typeface="Arial" panose="020B0604020202020204" pitchFamily="34" charset="0"/>
                <a:cs typeface="Arial" panose="020B0604020202020204" pitchFamily="34" charset="0"/>
              </a:rPr>
              <a:t> Academy at the following path: </a:t>
            </a:r>
            <a:r>
              <a:rPr lang="en-US" sz="2000" b="1" u="sng" dirty="0" err="1">
                <a:solidFill>
                  <a:schemeClr val="accent4">
                    <a:lumMod val="40000"/>
                    <a:lumOff val="60000"/>
                  </a:schemeClr>
                </a:solidFill>
                <a:latin typeface="Arial" panose="020B0604020202020204" pitchFamily="34" charset="0"/>
                <a:cs typeface="Arial" panose="020B0604020202020204" pitchFamily="34" charset="0"/>
              </a:rPr>
              <a:t>ConnectAmericas</a:t>
            </a:r>
            <a:r>
              <a:rPr lang="en-US" sz="2000" b="1" u="sng" dirty="0">
                <a:solidFill>
                  <a:schemeClr val="accent4">
                    <a:lumMod val="40000"/>
                    <a:lumOff val="60000"/>
                  </a:schemeClr>
                </a:solidFill>
                <a:latin typeface="Arial" panose="020B0604020202020204" pitchFamily="34" charset="0"/>
                <a:cs typeface="Arial" panose="020B0604020202020204" pitchFamily="34" charset="0"/>
              </a:rPr>
              <a:t> Academy - Topic 3 Business Model - Class 3 Transformation - Group Challenge</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2000" dirty="0">
                <a:solidFill>
                  <a:schemeClr val="bg1"/>
                </a:solidFill>
                <a:latin typeface="Arial" panose="020B0604020202020204" pitchFamily="34" charset="0"/>
                <a:cs typeface="Arial" panose="020B0604020202020204" pitchFamily="34" charset="0"/>
              </a:rPr>
              <a:t>You can upload files in PDF, </a:t>
            </a:r>
            <a:r>
              <a:rPr lang="en-US" sz="2000" dirty="0" err="1">
                <a:solidFill>
                  <a:schemeClr val="bg1"/>
                </a:solidFill>
                <a:latin typeface="Arial" panose="020B0604020202020204" pitchFamily="34" charset="0"/>
                <a:cs typeface="Arial" panose="020B0604020202020204" pitchFamily="34" charset="0"/>
              </a:rPr>
              <a:t>Powerpoint</a:t>
            </a:r>
            <a:r>
              <a:rPr lang="en-US" sz="2000" dirty="0">
                <a:solidFill>
                  <a:schemeClr val="bg1"/>
                </a:solidFill>
                <a:latin typeface="Arial" panose="020B0604020202020204" pitchFamily="34" charset="0"/>
                <a:cs typeface="Arial" panose="020B0604020202020204" pitchFamily="34" charset="0"/>
              </a:rPr>
              <a:t>, Word, Excel, Images (PNG, JPG), among others.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2000" dirty="0">
                <a:solidFill>
                  <a:schemeClr val="bg1"/>
                </a:solidFill>
                <a:latin typeface="Arial" panose="020B0604020202020204" pitchFamily="34" charset="0"/>
                <a:cs typeface="Arial" panose="020B0604020202020204" pitchFamily="34" charset="0"/>
              </a:rPr>
              <a:t>If you develop the exercise in an </a:t>
            </a:r>
            <a:r>
              <a:rPr lang="en-US" sz="2000" b="1" dirty="0">
                <a:solidFill>
                  <a:schemeClr val="bg1"/>
                </a:solidFill>
                <a:highlight>
                  <a:srgbClr val="EA3A55"/>
                </a:highlight>
                <a:latin typeface="Arial" panose="020B0604020202020204" pitchFamily="34" charset="0"/>
                <a:cs typeface="Arial" panose="020B0604020202020204" pitchFamily="34" charset="0"/>
              </a:rPr>
              <a:t>online tool</a:t>
            </a:r>
            <a:r>
              <a:rPr lang="en-US" sz="2000" dirty="0">
                <a:solidFill>
                  <a:schemeClr val="bg1"/>
                </a:solidFill>
                <a:latin typeface="Arial" panose="020B0604020202020204" pitchFamily="34" charset="0"/>
                <a:cs typeface="Arial" panose="020B0604020202020204" pitchFamily="34" charset="0"/>
              </a:rPr>
              <a:t>, you can upload the document with the associated link. Make sure that these links are public, i.e. that they can be viewed by people outside your </a:t>
            </a:r>
            <a:r>
              <a:rPr lang="en-US" sz="2000" dirty="0" err="1">
                <a:solidFill>
                  <a:schemeClr val="bg1"/>
                </a:solidFill>
                <a:latin typeface="Arial" panose="020B0604020202020204" pitchFamily="34" charset="0"/>
                <a:cs typeface="Arial" panose="020B0604020202020204" pitchFamily="34" charset="0"/>
              </a:rPr>
              <a:t>organisation</a:t>
            </a:r>
            <a:r>
              <a:rPr lang="en-US" sz="2000" dirty="0">
                <a:solidFill>
                  <a:schemeClr val="bg1"/>
                </a:solidFill>
                <a:latin typeface="Arial" panose="020B0604020202020204" pitchFamily="34" charset="0"/>
                <a:cs typeface="Arial" panose="020B0604020202020204" pitchFamily="34" charset="0"/>
              </a:rPr>
              <a:t>.</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2000" dirty="0">
                <a:solidFill>
                  <a:schemeClr val="bg1"/>
                </a:solidFill>
                <a:latin typeface="Arial" panose="020B0604020202020204" pitchFamily="34" charset="0"/>
                <a:cs typeface="Arial" panose="020B0604020202020204" pitchFamily="34" charset="0"/>
              </a:rPr>
              <a:t>Please ensure that the file is readable as it can only be uploaded to the Academy </a:t>
            </a:r>
            <a:r>
              <a:rPr lang="en-US" sz="2000" b="1" u="sng" dirty="0">
                <a:solidFill>
                  <a:schemeClr val="bg1"/>
                </a:solidFill>
                <a:latin typeface="Arial" panose="020B0604020202020204" pitchFamily="34" charset="0"/>
                <a:cs typeface="Arial" panose="020B0604020202020204" pitchFamily="34" charset="0"/>
              </a:rPr>
              <a:t>once</a:t>
            </a:r>
            <a:r>
              <a:rPr lang="en-US" sz="2000" dirty="0">
                <a:solidFill>
                  <a:schemeClr val="bg1"/>
                </a:solidFill>
                <a:latin typeface="Arial" panose="020B0604020202020204" pitchFamily="34" charset="0"/>
                <a:cs typeface="Arial" panose="020B0604020202020204" pitchFamily="34" charset="0"/>
              </a:rPr>
              <a:t>. </a:t>
            </a:r>
            <a:endParaRPr lang="en-GB" sz="2000" b="1" u="sng" dirty="0">
              <a:solidFill>
                <a:schemeClr val="accent4">
                  <a:lumMod val="40000"/>
                  <a:lumOff val="60000"/>
                </a:schemeClr>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906328C-CAC4-4A9A-81D6-5AEBC15F166D}"/>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INSTRUCTIONS</a:t>
            </a:r>
            <a:endParaRPr lang="en-GB" sz="40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9674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36ab4214-ab26-4180-94f5-c882e3796056">
      <UserInfo>
        <DisplayName>Monica Betancourt</DisplayName>
        <AccountId>14</AccountId>
        <AccountType/>
      </UserInfo>
      <UserInfo>
        <DisplayName>Santiago Peña Pacheco</DisplayName>
        <AccountId>63</AccountId>
        <AccountType/>
      </UserInfo>
      <UserInfo>
        <DisplayName>Katerine Schifino</DisplayName>
        <AccountId>1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4F6F202B989444B8E513D90358DBD5" ma:contentTypeVersion="13" ma:contentTypeDescription="Create a new document." ma:contentTypeScope="" ma:versionID="a5a65e935e1dddc96805a3052a4bc168">
  <xsd:schema xmlns:xsd="http://www.w3.org/2001/XMLSchema" xmlns:xs="http://www.w3.org/2001/XMLSchema" xmlns:p="http://schemas.microsoft.com/office/2006/metadata/properties" xmlns:ns2="f7497011-41e9-4539-8eaa-a91e26322fc1" xmlns:ns3="36ab4214-ab26-4180-94f5-c882e3796056" targetNamespace="http://schemas.microsoft.com/office/2006/metadata/properties" ma:root="true" ma:fieldsID="c2bc6ae20514a2e6100e2a685aa51a78" ns2:_="" ns3:_="">
    <xsd:import namespace="f7497011-41e9-4539-8eaa-a91e26322fc1"/>
    <xsd:import namespace="36ab4214-ab26-4180-94f5-c882e379605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497011-41e9-4539-8eaa-a91e26322f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6ab4214-ab26-4180-94f5-c882e379605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EBD0AE-4C18-4A23-B4DC-6E6B1C1ACE7D}">
  <ds:schemaRefs>
    <ds:schemaRef ds:uri="http://schemas.microsoft.com/sharepoint/v3/contenttype/forms"/>
  </ds:schemaRefs>
</ds:datastoreItem>
</file>

<file path=customXml/itemProps2.xml><?xml version="1.0" encoding="utf-8"?>
<ds:datastoreItem xmlns:ds="http://schemas.openxmlformats.org/officeDocument/2006/customXml" ds:itemID="{92397B2F-AA3E-4435-ABBB-477580938829}">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7497011-41e9-4539-8eaa-a91e26322fc1"/>
    <ds:schemaRef ds:uri="36ab4214-ab26-4180-94f5-c882e3796056"/>
    <ds:schemaRef ds:uri="http://www.w3.org/XML/1998/namespace"/>
    <ds:schemaRef ds:uri="http://purl.org/dc/dcmitype/"/>
  </ds:schemaRefs>
</ds:datastoreItem>
</file>

<file path=customXml/itemProps3.xml><?xml version="1.0" encoding="utf-8"?>
<ds:datastoreItem xmlns:ds="http://schemas.openxmlformats.org/officeDocument/2006/customXml" ds:itemID="{ED5F96CA-E124-41F1-ADD3-769E009E5D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497011-41e9-4539-8eaa-a91e26322fc1"/>
    <ds:schemaRef ds:uri="36ab4214-ab26-4180-94f5-c882e37960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77</TotalTime>
  <Words>871</Words>
  <Application>Microsoft Office PowerPoint</Application>
  <PresentationFormat>Widescreen</PresentationFormat>
  <Paragraphs>101</Paragraphs>
  <Slides>7</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EYInterstate Light</vt:lpstr>
      <vt:lpstr>EYInterstate-Bold</vt:lpstr>
      <vt:lpstr>Georgia</vt:lpstr>
      <vt:lpstr>Wingdings</vt:lpstr>
      <vt:lpstr>EY dark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Solana</dc:creator>
  <cp:lastModifiedBy>Katerine Schifino</cp:lastModifiedBy>
  <cp:revision>5</cp:revision>
  <cp:lastPrinted>2022-03-22T16:40:57Z</cp:lastPrinted>
  <dcterms:created xsi:type="dcterms:W3CDTF">2020-11-16T13:23:13Z</dcterms:created>
  <dcterms:modified xsi:type="dcterms:W3CDTF">2022-05-03T23:1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84780</vt:lpwstr>
  </property>
  <property fmtid="{D5CDD505-2E9C-101B-9397-08002B2CF9AE}" pid="3" name="NXPowerLiteSettings">
    <vt:lpwstr>C700052003A000</vt:lpwstr>
  </property>
  <property fmtid="{D5CDD505-2E9C-101B-9397-08002B2CF9AE}" pid="4" name="NXPowerLiteVersion">
    <vt:lpwstr>D8.0.4</vt:lpwstr>
  </property>
  <property fmtid="{D5CDD505-2E9C-101B-9397-08002B2CF9AE}" pid="5" name="ContentTypeId">
    <vt:lpwstr>0x0101007C4F6F202B989444B8E513D90358DBD5</vt:lpwstr>
  </property>
</Properties>
</file>